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667" r:id="rId1"/>
  </p:sldMasterIdLst>
  <p:notesMasterIdLst>
    <p:notesMasterId r:id="rId19"/>
  </p:notesMasterIdLst>
  <p:handoutMasterIdLst>
    <p:handoutMasterId r:id="rId20"/>
  </p:handoutMasterIdLst>
  <p:sldIdLst>
    <p:sldId id="358" r:id="rId2"/>
    <p:sldId id="344" r:id="rId3"/>
    <p:sldId id="359" r:id="rId4"/>
    <p:sldId id="353" r:id="rId5"/>
    <p:sldId id="360" r:id="rId6"/>
    <p:sldId id="361" r:id="rId7"/>
    <p:sldId id="363" r:id="rId8"/>
    <p:sldId id="364" r:id="rId9"/>
    <p:sldId id="365" r:id="rId10"/>
    <p:sldId id="369" r:id="rId11"/>
    <p:sldId id="368" r:id="rId12"/>
    <p:sldId id="366" r:id="rId13"/>
    <p:sldId id="370" r:id="rId14"/>
    <p:sldId id="362" r:id="rId15"/>
    <p:sldId id="367" r:id="rId16"/>
    <p:sldId id="372" r:id="rId17"/>
    <p:sldId id="371" r:id="rId18"/>
  </p:sldIdLst>
  <p:sldSz cx="8961438" cy="6721475"/>
  <p:notesSz cx="7315200" cy="9601200"/>
  <p:custDataLst>
    <p:tags r:id="rId2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1416" userDrawn="1">
          <p15:clr>
            <a:srgbClr val="A4A3A4"/>
          </p15:clr>
        </p15:guide>
      </p15:sldGuideLst>
    </p:ext>
    <p:ext uri="{2D200454-40CA-4A62-9FC3-DE9A4176ACB9}">
      <p15:notesGuideLst xmlns:p15="http://schemas.microsoft.com/office/powerpoint/2012/main">
        <p15:guide id="1" orient="horz" pos="4524" userDrawn="1">
          <p15:clr>
            <a:srgbClr val="A4A3A4"/>
          </p15:clr>
        </p15:guide>
        <p15:guide id="2" pos="3152" userDrawn="1">
          <p15:clr>
            <a:srgbClr val="A4A3A4"/>
          </p15:clr>
        </p15:guide>
        <p15:guide id="3" orient="horz" pos="3024">
          <p15:clr>
            <a:srgbClr val="A4A3A4"/>
          </p15:clr>
        </p15:guide>
        <p15:guide id="4"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457B5"/>
    <a:srgbClr val="0563BB"/>
    <a:srgbClr val="0354B0"/>
    <a:srgbClr val="0049A6"/>
    <a:srgbClr val="10A2ED"/>
    <a:srgbClr val="087CE3"/>
    <a:srgbClr val="055CB9"/>
    <a:srgbClr val="035CB8"/>
    <a:srgbClr val="066BC9"/>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6770" autoAdjust="0"/>
  </p:normalViewPr>
  <p:slideViewPr>
    <p:cSldViewPr snapToGrid="0" snapToObjects="1">
      <p:cViewPr varScale="1">
        <p:scale>
          <a:sx n="88" d="100"/>
          <a:sy n="88" d="100"/>
        </p:scale>
        <p:origin x="1464" y="90"/>
      </p:cViewPr>
      <p:guideLst>
        <p:guide orient="horz" pos="2117"/>
        <p:guide pos="1416"/>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5" d="100"/>
          <a:sy n="85" d="100"/>
        </p:scale>
        <p:origin x="2862" y="102"/>
      </p:cViewPr>
      <p:guideLst>
        <p:guide orient="horz" pos="4524"/>
        <p:guide pos="315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6138" y="601663"/>
            <a:ext cx="5630862" cy="422433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92379" y="5159107"/>
            <a:ext cx="623376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528233" y="9227281"/>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7108493"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2343609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748099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913532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628742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7533643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2841989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txBox="1">
            <a:spLocks noGrp="1" noChangeArrowheads="1"/>
          </p:cNvSpPr>
          <p:nvPr/>
        </p:nvSpPr>
        <p:spPr bwMode="auto">
          <a:xfrm>
            <a:off x="5995727" y="9738266"/>
            <a:ext cx="532656" cy="184666"/>
          </a:xfrm>
          <a:prstGeom prst="rect">
            <a:avLst/>
          </a:prstGeom>
          <a:noFill/>
          <a:ln w="9525">
            <a:noFill/>
            <a:miter lim="800000"/>
            <a:headEnd/>
            <a:tailEnd/>
          </a:ln>
        </p:spPr>
        <p:txBody>
          <a:bodyPr lIns="0" tIns="0" rIns="0" bIns="0" anchor="b">
            <a:spAutoFit/>
          </a:bodyPr>
          <a:lstStyle/>
          <a:p>
            <a:pPr algn="r"/>
            <a:endParaRPr lang="en-GB" sz="1200" dirty="0"/>
          </a:p>
        </p:txBody>
      </p:sp>
      <p:sp>
        <p:nvSpPr>
          <p:cNvPr id="79874" name="doc id"/>
          <p:cNvSpPr txBox="1">
            <a:spLocks noGrp="1" noChangeArrowheads="1"/>
          </p:cNvSpPr>
          <p:nvPr/>
        </p:nvSpPr>
        <p:spPr bwMode="auto">
          <a:xfrm>
            <a:off x="6528320" y="114973"/>
            <a:ext cx="65" cy="123111"/>
          </a:xfrm>
          <a:prstGeom prst="rect">
            <a:avLst/>
          </a:prstGeom>
          <a:noFill/>
          <a:ln w="9525">
            <a:noFill/>
            <a:miter lim="800000"/>
            <a:headEnd/>
            <a:tailEnd/>
          </a:ln>
        </p:spPr>
        <p:txBody>
          <a:bodyPr wrap="none" lIns="0" tIns="0" rIns="0" bIns="0" anchor="b">
            <a:spAutoFit/>
          </a:bodyPr>
          <a:lstStyle/>
          <a:p>
            <a:pPr algn="r"/>
            <a:endParaRPr lang="cs-CZ" sz="800" dirty="0"/>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xfrm>
            <a:off x="544528" y="5438482"/>
            <a:ext cx="5724205" cy="246221"/>
          </a:xfrm>
          <a:noFill/>
        </p:spPr>
        <p:txBody>
          <a:bodyPr/>
          <a:lstStyle/>
          <a:p>
            <a:pPr eaLnBrk="1" hangingPunct="1"/>
            <a:endParaRPr lang="en-US" dirty="0">
              <a:latin typeface="Arial" charset="0"/>
              <a:cs typeface="Arial" charset="0"/>
            </a:endParaRPr>
          </a:p>
        </p:txBody>
      </p:sp>
    </p:spTree>
    <p:extLst>
      <p:ext uri="{BB962C8B-B14F-4D97-AF65-F5344CB8AC3E}">
        <p14:creationId xmlns:p14="http://schemas.microsoft.com/office/powerpoint/2010/main" val="373826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17115141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1940063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6"/>
          <p:cNvSpPr>
            <a:spLocks noGrp="1" noRot="1" noChangeAspect="1" noChangeArrowheads="1" noTextEdit="1"/>
          </p:cNvSpPr>
          <p:nvPr>
            <p:ph type="sldImg"/>
          </p:nvPr>
        </p:nvSpPr>
        <p:spPr>
          <a:ln/>
        </p:spPr>
      </p:sp>
      <p:sp>
        <p:nvSpPr>
          <p:cNvPr id="10244" name="Rectangle 7"/>
          <p:cNvSpPr>
            <a:spLocks noGrp="1" noChangeArrowheads="1"/>
          </p:cNvSpPr>
          <p:nvPr>
            <p:ph type="body" idx="1"/>
          </p:nvPr>
        </p:nvSpPr>
        <p:spPr>
          <a:xfrm>
            <a:off x="562708" y="4993459"/>
            <a:ext cx="5921517" cy="246221"/>
          </a:xfrm>
          <a:noFill/>
        </p:spPr>
        <p:txBody>
          <a:bodyPr/>
          <a:lstStyle/>
          <a:p>
            <a:pPr eaLnBrk="1" hangingPunct="1"/>
            <a:endParaRPr lang="en-US" dirty="0"/>
          </a:p>
        </p:txBody>
      </p:sp>
      <p:sp>
        <p:nvSpPr>
          <p:cNvPr id="2" name="Slide Number Placeholder 1"/>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68807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534999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379" y="5159107"/>
            <a:ext cx="6233763" cy="246221"/>
          </a:xfrm>
        </p:spPr>
        <p:txBody>
          <a:bodyPr/>
          <a:lstStyle/>
          <a:p>
            <a:endParaRPr lang="de-CH" dirty="0"/>
          </a:p>
        </p:txBody>
      </p:sp>
      <p:sp>
        <p:nvSpPr>
          <p:cNvPr id="5" name="Slide Number Placeholder 4"/>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2209032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480112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1379742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910321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176012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6216234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userDrawn="1"/>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2017 8:58 PM Eastern Standard Time</a:t>
            </a:r>
            <a:endParaRPr lang="en-US" sz="800" baseline="0" dirty="0">
              <a:solidFill>
                <a:srgbClr val="FFFFFF"/>
              </a:solidFill>
              <a:latin typeface="+mn-lt"/>
            </a:endParaRPr>
          </a:p>
        </p:txBody>
      </p:sp>
      <p:sp>
        <p:nvSpPr>
          <p:cNvPr id="7" name="Printed" hidden="1"/>
          <p:cNvSpPr txBox="1">
            <a:spLocks noChangeArrowheads="1"/>
          </p:cNvSpPr>
          <p:nvPr userDrawn="1"/>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userDrawn="1">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hidden="1"/>
          <p:cNvSpPr>
            <a:spLocks noEditPoints="1"/>
          </p:cNvSpPr>
          <p:nvPr userDrawn="1"/>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userDrawn="1"/>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88105659"/>
      </p:ext>
    </p:extLst>
  </p:cSld>
  <p:clrMapOvr>
    <a:masterClrMapping/>
  </p:clrMapOvr>
  <p:extLst mod="1">
    <p:ext uri="{DCECCB84-F9BA-43D5-87BE-67443E8EF086}">
      <p15:sldGuideLst xmlns:p15="http://schemas.microsoft.com/office/powerpoint/2012/main">
        <p15:guide id="1" orient="horz" pos="2117" userDrawn="1">
          <p15:clr>
            <a:srgbClr val="FBAE40"/>
          </p15:clr>
        </p15:guide>
        <p15:guide id="2" pos="141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0623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5"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hidden="1"/>
          <p:cNvSpPr>
            <a:spLocks noChangeArrowheads="1"/>
          </p:cNvSpPr>
          <p:nvPr userDrawn="1">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31778294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9833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3"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hidden="1"/>
          <p:cNvSpPr>
            <a:spLocks noChangeArrowheads="1"/>
          </p:cNvSpPr>
          <p:nvPr userDrawn="1">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74424257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9249881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1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6124" y="1940591"/>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2017 8:58 PM Eastern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userDrawn="1"/>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26" name="LegendBoxes" hidden="1"/>
          <p:cNvGrpSpPr/>
          <p:nvPr userDrawn="1"/>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userDrawn="1"/>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userDrawn="1"/>
        </p:nvGrpSpPr>
        <p:grpSpPr bwMode="gray">
          <a:xfrm>
            <a:off x="7842364" y="250825"/>
            <a:ext cx="830430" cy="1306516"/>
            <a:chOff x="7769225" y="250825"/>
            <a:chExt cx="830430"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425758728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8.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21" Type="http://schemas.openxmlformats.org/officeDocument/2006/relationships/notesSlide" Target="../notesSlides/notesSlide15.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vmlDrawing" Target="../drawings/vmlDrawing15.vml"/><Relationship Id="rId6" Type="http://schemas.openxmlformats.org/officeDocument/2006/relationships/tags" Target="../tags/tag73.xml"/><Relationship Id="rId11" Type="http://schemas.openxmlformats.org/officeDocument/2006/relationships/image" Target="../media/image8.emf"/><Relationship Id="rId5" Type="http://schemas.openxmlformats.org/officeDocument/2006/relationships/tags" Target="../tags/tag72.xml"/><Relationship Id="rId10" Type="http://schemas.openxmlformats.org/officeDocument/2006/relationships/oleObject" Target="../embeddings/oleObject15.bin"/><Relationship Id="rId4" Type="http://schemas.openxmlformats.org/officeDocument/2006/relationships/tags" Target="../tags/tag71.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11" Type="http://schemas.openxmlformats.org/officeDocument/2006/relationships/image" Target="../media/image8.emf"/><Relationship Id="rId5" Type="http://schemas.openxmlformats.org/officeDocument/2006/relationships/tags" Target="../tags/tag29.xml"/><Relationship Id="rId10" Type="http://schemas.openxmlformats.org/officeDocument/2006/relationships/oleObject" Target="../embeddings/oleObject7.bin"/><Relationship Id="rId4" Type="http://schemas.openxmlformats.org/officeDocument/2006/relationships/tags" Target="../tags/tag28.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2.xml"/><Relationship Id="rId7" Type="http://schemas.openxmlformats.org/officeDocument/2006/relationships/image" Target="../media/image9.jpeg"/><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10" Type="http://schemas.openxmlformats.org/officeDocument/2006/relationships/image" Target="../media/image12.png"/><Relationship Id="rId4" Type="http://schemas.openxmlformats.org/officeDocument/2006/relationships/notesSlide" Target="../notesSlides/notesSlide4.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tags" Target="../tags/tag37.xml"/><Relationship Id="rId11" Type="http://schemas.openxmlformats.org/officeDocument/2006/relationships/image" Target="../media/image8.emf"/><Relationship Id="rId5" Type="http://schemas.openxmlformats.org/officeDocument/2006/relationships/tags" Target="../tags/tag36.xml"/><Relationship Id="rId10" Type="http://schemas.openxmlformats.org/officeDocument/2006/relationships/oleObject" Target="../embeddings/oleObject9.bin"/><Relationship Id="rId4" Type="http://schemas.openxmlformats.org/officeDocument/2006/relationships/tags" Target="../tags/tag35.xml"/><Relationship Id="rId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1.xml"/><Relationship Id="rId7" Type="http://schemas.openxmlformats.org/officeDocument/2006/relationships/notesSlide" Target="../notesSlides/notesSlide9.xml"/><Relationship Id="rId2" Type="http://schemas.openxmlformats.org/officeDocument/2006/relationships/tags" Target="../tags/tag40.xml"/><Relationship Id="rId1" Type="http://schemas.openxmlformats.org/officeDocument/2006/relationships/vmlDrawing" Target="../drawings/vmlDrawing11.vml"/><Relationship Id="rId6" Type="http://schemas.openxmlformats.org/officeDocument/2006/relationships/slideLayout" Target="../slideLayouts/slideLayout2.xml"/><Relationship Id="rId11" Type="http://schemas.openxmlformats.org/officeDocument/2006/relationships/image" Target="../media/image18.emf"/><Relationship Id="rId5" Type="http://schemas.openxmlformats.org/officeDocument/2006/relationships/tags" Target="../tags/tag43.xml"/><Relationship Id="rId10" Type="http://schemas.openxmlformats.org/officeDocument/2006/relationships/image" Target="../media/image17.jpg"/><Relationship Id="rId4" Type="http://schemas.openxmlformats.org/officeDocument/2006/relationships/tags" Target="../tags/tag42.xml"/><Relationship Id="rId9"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20509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22"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ocument type"/>
          <p:cNvSpPr txBox="1">
            <a:spLocks noChangeArrowheads="1"/>
          </p:cNvSpPr>
          <p:nvPr/>
        </p:nvSpPr>
        <p:spPr bwMode="gray">
          <a:xfrm>
            <a:off x="2268265" y="3231542"/>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dirty="0" err="1">
                <a:solidFill>
                  <a:schemeClr val="bg1"/>
                </a:solidFill>
              </a:rPr>
              <a:t>Mitsos</a:t>
            </a:r>
            <a:r>
              <a:rPr lang="en-US" dirty="0">
                <a:solidFill>
                  <a:schemeClr val="bg1"/>
                </a:solidFill>
              </a:rPr>
              <a:t> Triantopoulos | Final Project | 09 February 2017</a:t>
            </a:r>
          </a:p>
        </p:txBody>
      </p:sp>
      <p:sp>
        <p:nvSpPr>
          <p:cNvPr id="2" name="Title 1"/>
          <p:cNvSpPr>
            <a:spLocks noGrp="1"/>
          </p:cNvSpPr>
          <p:nvPr>
            <p:ph type="ctrTitle"/>
          </p:nvPr>
        </p:nvSpPr>
        <p:spPr>
          <a:xfrm>
            <a:off x="2268266" y="1194927"/>
            <a:ext cx="6231663" cy="1969770"/>
          </a:xfrm>
        </p:spPr>
        <p:txBody>
          <a:bodyPr/>
          <a:lstStyle/>
          <a:p>
            <a:r>
              <a:rPr lang="en-US" b="1" dirty="0"/>
              <a:t>General Assembly </a:t>
            </a:r>
            <a:br>
              <a:rPr lang="en-US" b="1" dirty="0"/>
            </a:br>
            <a:r>
              <a:rPr lang="en-US" b="1" dirty="0"/>
              <a:t>Data Science-45</a:t>
            </a:r>
            <a:br>
              <a:rPr lang="en-US" b="1" dirty="0"/>
            </a:br>
            <a:r>
              <a:rPr lang="en-US" b="1" dirty="0">
                <a:solidFill>
                  <a:schemeClr val="accent2">
                    <a:lumMod val="40000"/>
                    <a:lumOff val="60000"/>
                  </a:schemeClr>
                </a:solidFill>
              </a:rPr>
              <a:t>Cellar Tracker: From Tasting Notes to Ratings</a:t>
            </a:r>
          </a:p>
        </p:txBody>
      </p:sp>
      <p:pic>
        <p:nvPicPr>
          <p:cNvPr id="3" name="Picture 2"/>
          <p:cNvPicPr>
            <a:picLocks noChangeAspect="1"/>
          </p:cNvPicPr>
          <p:nvPr/>
        </p:nvPicPr>
        <p:blipFill>
          <a:blip r:embed="rId7"/>
          <a:stretch>
            <a:fillRect/>
          </a:stretch>
        </p:blipFill>
        <p:spPr>
          <a:xfrm>
            <a:off x="2115723" y="101448"/>
            <a:ext cx="2838846" cy="809738"/>
          </a:xfrm>
          <a:prstGeom prst="rect">
            <a:avLst/>
          </a:prstGeom>
        </p:spPr>
      </p:pic>
    </p:spTree>
    <p:extLst>
      <p:ext uri="{BB962C8B-B14F-4D97-AF65-F5344CB8AC3E}">
        <p14:creationId xmlns:p14="http://schemas.microsoft.com/office/powerpoint/2010/main" val="2402469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 overview of the ratings distribution</a:t>
            </a:r>
          </a:p>
        </p:txBody>
      </p:sp>
      <p:pic>
        <p:nvPicPr>
          <p:cNvPr id="5" name="Picture 4"/>
          <p:cNvPicPr>
            <a:picLocks noChangeAspect="1"/>
          </p:cNvPicPr>
          <p:nvPr/>
        </p:nvPicPr>
        <p:blipFill>
          <a:blip r:embed="rId3"/>
          <a:stretch>
            <a:fillRect/>
          </a:stretch>
        </p:blipFill>
        <p:spPr>
          <a:xfrm>
            <a:off x="1088844" y="1804585"/>
            <a:ext cx="6230219" cy="3915321"/>
          </a:xfrm>
          <a:prstGeom prst="rect">
            <a:avLst/>
          </a:prstGeom>
        </p:spPr>
      </p:pic>
      <p:sp>
        <p:nvSpPr>
          <p:cNvPr id="6" name="TextBox 5"/>
          <p:cNvSpPr txBox="1"/>
          <p:nvPr/>
        </p:nvSpPr>
        <p:spPr>
          <a:xfrm>
            <a:off x="126206" y="891857"/>
            <a:ext cx="7646194"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As expected, most “cellar-worthy” wines were rated above 85 points, with the highest number between 90-95.  Above 95 are the exceptional and collectible ones.</a:t>
            </a:r>
          </a:p>
        </p:txBody>
      </p:sp>
    </p:spTree>
    <p:extLst>
      <p:ext uri="{BB962C8B-B14F-4D97-AF65-F5344CB8AC3E}">
        <p14:creationId xmlns:p14="http://schemas.microsoft.com/office/powerpoint/2010/main" val="38326352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ntage</a:t>
            </a:r>
          </a:p>
        </p:txBody>
      </p:sp>
      <p:pic>
        <p:nvPicPr>
          <p:cNvPr id="5" name="Picture 4"/>
          <p:cNvPicPr>
            <a:picLocks noChangeAspect="1"/>
          </p:cNvPicPr>
          <p:nvPr/>
        </p:nvPicPr>
        <p:blipFill>
          <a:blip r:embed="rId3"/>
          <a:stretch>
            <a:fillRect/>
          </a:stretch>
        </p:blipFill>
        <p:spPr>
          <a:xfrm>
            <a:off x="683217" y="1958986"/>
            <a:ext cx="7473948" cy="4325926"/>
          </a:xfrm>
          <a:prstGeom prst="rect">
            <a:avLst/>
          </a:prstGeom>
        </p:spPr>
      </p:pic>
      <p:sp>
        <p:nvSpPr>
          <p:cNvPr id="6" name="TextBox 5"/>
          <p:cNvSpPr txBox="1"/>
          <p:nvPr/>
        </p:nvSpPr>
        <p:spPr>
          <a:xfrm>
            <a:off x="126206" y="736775"/>
            <a:ext cx="8248867" cy="86177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Even though the distribution of points is very scattered – there is a general trend that “older tends to rate higher” – this is to be expected, as the wines that have the potential to age are the ones that are generally rated higher (and have higher price).</a:t>
            </a:r>
          </a:p>
          <a:p>
            <a:endParaRPr lang="en-US" dirty="0"/>
          </a:p>
        </p:txBody>
      </p:sp>
    </p:spTree>
    <p:extLst>
      <p:ext uri="{BB962C8B-B14F-4D97-AF65-F5344CB8AC3E}">
        <p14:creationId xmlns:p14="http://schemas.microsoft.com/office/powerpoint/2010/main" val="1361118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99972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3" name="think-cell Slide" r:id="rId10" imgW="353" imgH="353" progId="TCLayout.ActiveDocument.1">
                  <p:embed/>
                </p:oleObj>
              </mc:Choice>
              <mc:Fallback>
                <p:oleObj name="think-cell Slide" r:id="rId10" imgW="353" imgH="353" progId="TCLayout.ActiveDocument.1">
                  <p:embed/>
                  <p:pic>
                    <p:nvPicPr>
                      <p:cNvPr id="5" name="Object 4"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p:txBody>
          <a:bodyPr/>
          <a:lstStyle/>
          <a:p>
            <a:r>
              <a:rPr lang="en-US" dirty="0"/>
              <a:t>Contents</a:t>
            </a:r>
          </a:p>
        </p:txBody>
      </p:sp>
      <p:sp>
        <p:nvSpPr>
          <p:cNvPr id="7" name="Text Placeholder 2"/>
          <p:cNvSpPr>
            <a:spLocks noGrp="1"/>
          </p:cNvSpPr>
          <p:nvPr>
            <p:custDataLst>
              <p:tags r:id="rId4"/>
            </p:custDataLst>
          </p:nvPr>
        </p:nvSpPr>
        <p:spPr bwMode="black">
          <a:xfrm>
            <a:off x="125404" y="19383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Background</a:t>
            </a:r>
          </a:p>
        </p:txBody>
      </p:sp>
      <p:sp>
        <p:nvSpPr>
          <p:cNvPr id="14" name="Text Placeholder 2"/>
          <p:cNvSpPr>
            <a:spLocks noGrp="1"/>
          </p:cNvSpPr>
          <p:nvPr>
            <p:custDataLst>
              <p:tags r:id="rId5"/>
            </p:custDataLst>
          </p:nvPr>
        </p:nvSpPr>
        <p:spPr bwMode="black">
          <a:xfrm>
            <a:off x="125410" y="26495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set</a:t>
            </a:r>
          </a:p>
        </p:txBody>
      </p:sp>
      <p:sp>
        <p:nvSpPr>
          <p:cNvPr id="19" name="Text Placeholder 2"/>
          <p:cNvSpPr>
            <a:spLocks noGrp="1"/>
          </p:cNvSpPr>
          <p:nvPr>
            <p:custDataLst>
              <p:tags r:id="rId6"/>
            </p:custDataLst>
          </p:nvPr>
        </p:nvSpPr>
        <p:spPr bwMode="black">
          <a:xfrm>
            <a:off x="125413" y="3360738"/>
            <a:ext cx="2198688"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 model</a:t>
            </a:r>
          </a:p>
        </p:txBody>
      </p:sp>
      <p:sp>
        <p:nvSpPr>
          <p:cNvPr id="8" name="Text Placeholder 2"/>
          <p:cNvSpPr>
            <a:spLocks noGrp="1"/>
          </p:cNvSpPr>
          <p:nvPr>
            <p:custDataLst>
              <p:tags r:id="rId7"/>
            </p:custDataLst>
          </p:nvPr>
        </p:nvSpPr>
        <p:spPr bwMode="black">
          <a:xfrm>
            <a:off x="125413" y="40719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Conclusion</a:t>
            </a:r>
          </a:p>
        </p:txBody>
      </p:sp>
    </p:spTree>
    <p:extLst>
      <p:ext uri="{BB962C8B-B14F-4D97-AF65-F5344CB8AC3E}">
        <p14:creationId xmlns:p14="http://schemas.microsoft.com/office/powerpoint/2010/main" val="3275332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 Forest and Count Vectorizer</a:t>
            </a:r>
          </a:p>
        </p:txBody>
      </p:sp>
      <p:sp>
        <p:nvSpPr>
          <p:cNvPr id="4" name="TextBox 3"/>
          <p:cNvSpPr txBox="1"/>
          <p:nvPr/>
        </p:nvSpPr>
        <p:spPr>
          <a:xfrm>
            <a:off x="219583" y="669693"/>
            <a:ext cx="7901159"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Text was vectorized using CountVectorizer, with 2000 features and 1-grams, 2-grams, and 3-grams </a:t>
            </a:r>
          </a:p>
        </p:txBody>
      </p:sp>
      <p:pic>
        <p:nvPicPr>
          <p:cNvPr id="5" name="Picture 4"/>
          <p:cNvPicPr>
            <a:picLocks noChangeAspect="1"/>
          </p:cNvPicPr>
          <p:nvPr/>
        </p:nvPicPr>
        <p:blipFill>
          <a:blip r:embed="rId3"/>
          <a:stretch>
            <a:fillRect/>
          </a:stretch>
        </p:blipFill>
        <p:spPr>
          <a:xfrm>
            <a:off x="0" y="949389"/>
            <a:ext cx="5668166" cy="2210108"/>
          </a:xfrm>
          <a:prstGeom prst="rect">
            <a:avLst/>
          </a:prstGeom>
        </p:spPr>
      </p:pic>
      <p:sp>
        <p:nvSpPr>
          <p:cNvPr id="7" name="TextBox 6"/>
          <p:cNvSpPr txBox="1"/>
          <p:nvPr/>
        </p:nvSpPr>
        <p:spPr>
          <a:xfrm>
            <a:off x="363992" y="3475380"/>
            <a:ext cx="4302125"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Random forest: </a:t>
            </a:r>
          </a:p>
        </p:txBody>
      </p:sp>
      <p:pic>
        <p:nvPicPr>
          <p:cNvPr id="9" name="Picture 8"/>
          <p:cNvPicPr>
            <a:picLocks noChangeAspect="1"/>
          </p:cNvPicPr>
          <p:nvPr/>
        </p:nvPicPr>
        <p:blipFill>
          <a:blip r:embed="rId4"/>
          <a:stretch>
            <a:fillRect/>
          </a:stretch>
        </p:blipFill>
        <p:spPr>
          <a:xfrm>
            <a:off x="395397" y="3861362"/>
            <a:ext cx="6516009" cy="1676634"/>
          </a:xfrm>
          <a:prstGeom prst="rect">
            <a:avLst/>
          </a:prstGeom>
        </p:spPr>
      </p:pic>
    </p:spTree>
    <p:extLst>
      <p:ext uri="{BB962C8B-B14F-4D97-AF65-F5344CB8AC3E}">
        <p14:creationId xmlns:p14="http://schemas.microsoft.com/office/powerpoint/2010/main" val="2414631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4850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41"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5" name="Group 4"/>
          <p:cNvGrpSpPr/>
          <p:nvPr/>
        </p:nvGrpSpPr>
        <p:grpSpPr>
          <a:xfrm>
            <a:off x="356537" y="1118219"/>
            <a:ext cx="4984750" cy="4981575"/>
            <a:chOff x="1935956" y="931181"/>
            <a:chExt cx="4984750" cy="4981575"/>
          </a:xfrm>
          <a:solidFill>
            <a:schemeClr val="tx2">
              <a:lumMod val="25000"/>
              <a:lumOff val="75000"/>
            </a:schemeClr>
          </a:solidFill>
        </p:grpSpPr>
        <p:sp>
          <p:nvSpPr>
            <p:cNvPr id="6" name="Freeform 26"/>
            <p:cNvSpPr>
              <a:spLocks/>
            </p:cNvSpPr>
            <p:nvPr/>
          </p:nvSpPr>
          <p:spPr bwMode="auto">
            <a:xfrm>
              <a:off x="2072394" y="934352"/>
              <a:ext cx="2503480" cy="2096004"/>
            </a:xfrm>
            <a:custGeom>
              <a:avLst/>
              <a:gdLst>
                <a:gd name="T0" fmla="*/ 792 w 1578"/>
                <a:gd name="T1" fmla="*/ 1322 h 1322"/>
                <a:gd name="T2" fmla="*/ 792 w 1578"/>
                <a:gd name="T3" fmla="*/ 1322 h 1322"/>
                <a:gd name="T4" fmla="*/ 812 w 1578"/>
                <a:gd name="T5" fmla="*/ 1272 h 1322"/>
                <a:gd name="T6" fmla="*/ 836 w 1578"/>
                <a:gd name="T7" fmla="*/ 1224 h 1322"/>
                <a:gd name="T8" fmla="*/ 862 w 1578"/>
                <a:gd name="T9" fmla="*/ 1178 h 1322"/>
                <a:gd name="T10" fmla="*/ 892 w 1578"/>
                <a:gd name="T11" fmla="*/ 1134 h 1322"/>
                <a:gd name="T12" fmla="*/ 926 w 1578"/>
                <a:gd name="T13" fmla="*/ 1094 h 1322"/>
                <a:gd name="T14" fmla="*/ 962 w 1578"/>
                <a:gd name="T15" fmla="*/ 1054 h 1322"/>
                <a:gd name="T16" fmla="*/ 1000 w 1578"/>
                <a:gd name="T17" fmla="*/ 1018 h 1322"/>
                <a:gd name="T18" fmla="*/ 1042 w 1578"/>
                <a:gd name="T19" fmla="*/ 984 h 1322"/>
                <a:gd name="T20" fmla="*/ 1084 w 1578"/>
                <a:gd name="T21" fmla="*/ 954 h 1322"/>
                <a:gd name="T22" fmla="*/ 1130 w 1578"/>
                <a:gd name="T23" fmla="*/ 928 h 1322"/>
                <a:gd name="T24" fmla="*/ 1178 w 1578"/>
                <a:gd name="T25" fmla="*/ 904 h 1322"/>
                <a:gd name="T26" fmla="*/ 1228 w 1578"/>
                <a:gd name="T27" fmla="*/ 882 h 1322"/>
                <a:gd name="T28" fmla="*/ 1280 w 1578"/>
                <a:gd name="T29" fmla="*/ 866 h 1322"/>
                <a:gd name="T30" fmla="*/ 1332 w 1578"/>
                <a:gd name="T31" fmla="*/ 852 h 1322"/>
                <a:gd name="T32" fmla="*/ 1386 w 1578"/>
                <a:gd name="T33" fmla="*/ 844 h 1322"/>
                <a:gd name="T34" fmla="*/ 1442 w 1578"/>
                <a:gd name="T35" fmla="*/ 838 h 1322"/>
                <a:gd name="T36" fmla="*/ 1578 w 1578"/>
                <a:gd name="T37" fmla="*/ 384 h 1322"/>
                <a:gd name="T38" fmla="*/ 1412 w 1578"/>
                <a:gd name="T39" fmla="*/ 0 h 1322"/>
                <a:gd name="T40" fmla="*/ 1412 w 1578"/>
                <a:gd name="T41" fmla="*/ 0 h 1322"/>
                <a:gd name="T42" fmla="*/ 1352 w 1578"/>
                <a:gd name="T43" fmla="*/ 4 h 1322"/>
                <a:gd name="T44" fmla="*/ 1292 w 1578"/>
                <a:gd name="T45" fmla="*/ 10 h 1322"/>
                <a:gd name="T46" fmla="*/ 1232 w 1578"/>
                <a:gd name="T47" fmla="*/ 18 h 1322"/>
                <a:gd name="T48" fmla="*/ 1172 w 1578"/>
                <a:gd name="T49" fmla="*/ 30 h 1322"/>
                <a:gd name="T50" fmla="*/ 1114 w 1578"/>
                <a:gd name="T51" fmla="*/ 42 h 1322"/>
                <a:gd name="T52" fmla="*/ 1056 w 1578"/>
                <a:gd name="T53" fmla="*/ 58 h 1322"/>
                <a:gd name="T54" fmla="*/ 1000 w 1578"/>
                <a:gd name="T55" fmla="*/ 74 h 1322"/>
                <a:gd name="T56" fmla="*/ 944 w 1578"/>
                <a:gd name="T57" fmla="*/ 94 h 1322"/>
                <a:gd name="T58" fmla="*/ 890 w 1578"/>
                <a:gd name="T59" fmla="*/ 114 h 1322"/>
                <a:gd name="T60" fmla="*/ 836 w 1578"/>
                <a:gd name="T61" fmla="*/ 138 h 1322"/>
                <a:gd name="T62" fmla="*/ 784 w 1578"/>
                <a:gd name="T63" fmla="*/ 162 h 1322"/>
                <a:gd name="T64" fmla="*/ 732 w 1578"/>
                <a:gd name="T65" fmla="*/ 190 h 1322"/>
                <a:gd name="T66" fmla="*/ 682 w 1578"/>
                <a:gd name="T67" fmla="*/ 218 h 1322"/>
                <a:gd name="T68" fmla="*/ 634 w 1578"/>
                <a:gd name="T69" fmla="*/ 248 h 1322"/>
                <a:gd name="T70" fmla="*/ 586 w 1578"/>
                <a:gd name="T71" fmla="*/ 280 h 1322"/>
                <a:gd name="T72" fmla="*/ 538 w 1578"/>
                <a:gd name="T73" fmla="*/ 314 h 1322"/>
                <a:gd name="T74" fmla="*/ 494 w 1578"/>
                <a:gd name="T75" fmla="*/ 350 h 1322"/>
                <a:gd name="T76" fmla="*/ 450 w 1578"/>
                <a:gd name="T77" fmla="*/ 388 h 1322"/>
                <a:gd name="T78" fmla="*/ 406 w 1578"/>
                <a:gd name="T79" fmla="*/ 426 h 1322"/>
                <a:gd name="T80" fmla="*/ 366 w 1578"/>
                <a:gd name="T81" fmla="*/ 466 h 1322"/>
                <a:gd name="T82" fmla="*/ 326 w 1578"/>
                <a:gd name="T83" fmla="*/ 508 h 1322"/>
                <a:gd name="T84" fmla="*/ 288 w 1578"/>
                <a:gd name="T85" fmla="*/ 552 h 1322"/>
                <a:gd name="T86" fmla="*/ 252 w 1578"/>
                <a:gd name="T87" fmla="*/ 596 h 1322"/>
                <a:gd name="T88" fmla="*/ 216 w 1578"/>
                <a:gd name="T89" fmla="*/ 642 h 1322"/>
                <a:gd name="T90" fmla="*/ 184 w 1578"/>
                <a:gd name="T91" fmla="*/ 688 h 1322"/>
                <a:gd name="T92" fmla="*/ 152 w 1578"/>
                <a:gd name="T93" fmla="*/ 738 h 1322"/>
                <a:gd name="T94" fmla="*/ 122 w 1578"/>
                <a:gd name="T95" fmla="*/ 786 h 1322"/>
                <a:gd name="T96" fmla="*/ 94 w 1578"/>
                <a:gd name="T97" fmla="*/ 838 h 1322"/>
                <a:gd name="T98" fmla="*/ 68 w 1578"/>
                <a:gd name="T99" fmla="*/ 890 h 1322"/>
                <a:gd name="T100" fmla="*/ 44 w 1578"/>
                <a:gd name="T101" fmla="*/ 942 h 1322"/>
                <a:gd name="T102" fmla="*/ 20 w 1578"/>
                <a:gd name="T103" fmla="*/ 996 h 1322"/>
                <a:gd name="T104" fmla="*/ 0 w 1578"/>
                <a:gd name="T105" fmla="*/ 1052 h 1322"/>
                <a:gd name="T106" fmla="*/ 426 w 1578"/>
                <a:gd name="T107" fmla="*/ 1034 h 1322"/>
                <a:gd name="T108" fmla="*/ 792 w 1578"/>
                <a:gd name="T109" fmla="*/ 1322 h 13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78"/>
                <a:gd name="T166" fmla="*/ 0 h 1322"/>
                <a:gd name="T167" fmla="*/ 1578 w 1578"/>
                <a:gd name="T168" fmla="*/ 1322 h 132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78" h="1322">
                  <a:moveTo>
                    <a:pt x="792" y="1322"/>
                  </a:moveTo>
                  <a:lnTo>
                    <a:pt x="792" y="1322"/>
                  </a:lnTo>
                  <a:lnTo>
                    <a:pt x="812" y="1272"/>
                  </a:lnTo>
                  <a:lnTo>
                    <a:pt x="836" y="1224"/>
                  </a:lnTo>
                  <a:lnTo>
                    <a:pt x="862" y="1178"/>
                  </a:lnTo>
                  <a:lnTo>
                    <a:pt x="892" y="1134"/>
                  </a:lnTo>
                  <a:lnTo>
                    <a:pt x="926" y="1094"/>
                  </a:lnTo>
                  <a:lnTo>
                    <a:pt x="962" y="1054"/>
                  </a:lnTo>
                  <a:lnTo>
                    <a:pt x="1000" y="1018"/>
                  </a:lnTo>
                  <a:lnTo>
                    <a:pt x="1042" y="984"/>
                  </a:lnTo>
                  <a:lnTo>
                    <a:pt x="1084" y="954"/>
                  </a:lnTo>
                  <a:lnTo>
                    <a:pt x="1130" y="928"/>
                  </a:lnTo>
                  <a:lnTo>
                    <a:pt x="1178" y="904"/>
                  </a:lnTo>
                  <a:lnTo>
                    <a:pt x="1228" y="882"/>
                  </a:lnTo>
                  <a:lnTo>
                    <a:pt x="1280" y="866"/>
                  </a:lnTo>
                  <a:lnTo>
                    <a:pt x="1332" y="852"/>
                  </a:lnTo>
                  <a:lnTo>
                    <a:pt x="1386" y="844"/>
                  </a:lnTo>
                  <a:lnTo>
                    <a:pt x="1442" y="838"/>
                  </a:lnTo>
                  <a:lnTo>
                    <a:pt x="1578" y="384"/>
                  </a:lnTo>
                  <a:lnTo>
                    <a:pt x="1412" y="0"/>
                  </a:lnTo>
                  <a:lnTo>
                    <a:pt x="1352" y="4"/>
                  </a:lnTo>
                  <a:lnTo>
                    <a:pt x="1292" y="10"/>
                  </a:lnTo>
                  <a:lnTo>
                    <a:pt x="1232" y="18"/>
                  </a:lnTo>
                  <a:lnTo>
                    <a:pt x="1172" y="30"/>
                  </a:lnTo>
                  <a:lnTo>
                    <a:pt x="1114" y="42"/>
                  </a:lnTo>
                  <a:lnTo>
                    <a:pt x="1056" y="58"/>
                  </a:lnTo>
                  <a:lnTo>
                    <a:pt x="1000" y="74"/>
                  </a:lnTo>
                  <a:lnTo>
                    <a:pt x="944" y="94"/>
                  </a:lnTo>
                  <a:lnTo>
                    <a:pt x="890" y="114"/>
                  </a:lnTo>
                  <a:lnTo>
                    <a:pt x="836" y="138"/>
                  </a:lnTo>
                  <a:lnTo>
                    <a:pt x="784" y="162"/>
                  </a:lnTo>
                  <a:lnTo>
                    <a:pt x="732" y="190"/>
                  </a:lnTo>
                  <a:lnTo>
                    <a:pt x="682" y="218"/>
                  </a:lnTo>
                  <a:lnTo>
                    <a:pt x="634" y="248"/>
                  </a:lnTo>
                  <a:lnTo>
                    <a:pt x="586" y="280"/>
                  </a:lnTo>
                  <a:lnTo>
                    <a:pt x="538" y="314"/>
                  </a:lnTo>
                  <a:lnTo>
                    <a:pt x="494" y="350"/>
                  </a:lnTo>
                  <a:lnTo>
                    <a:pt x="450" y="388"/>
                  </a:lnTo>
                  <a:lnTo>
                    <a:pt x="406" y="426"/>
                  </a:lnTo>
                  <a:lnTo>
                    <a:pt x="366" y="466"/>
                  </a:lnTo>
                  <a:lnTo>
                    <a:pt x="326" y="508"/>
                  </a:lnTo>
                  <a:lnTo>
                    <a:pt x="288" y="552"/>
                  </a:lnTo>
                  <a:lnTo>
                    <a:pt x="252" y="596"/>
                  </a:lnTo>
                  <a:lnTo>
                    <a:pt x="216" y="642"/>
                  </a:lnTo>
                  <a:lnTo>
                    <a:pt x="184" y="688"/>
                  </a:lnTo>
                  <a:lnTo>
                    <a:pt x="152" y="738"/>
                  </a:lnTo>
                  <a:lnTo>
                    <a:pt x="122" y="786"/>
                  </a:lnTo>
                  <a:lnTo>
                    <a:pt x="94" y="838"/>
                  </a:lnTo>
                  <a:lnTo>
                    <a:pt x="68" y="890"/>
                  </a:lnTo>
                  <a:lnTo>
                    <a:pt x="44" y="942"/>
                  </a:lnTo>
                  <a:lnTo>
                    <a:pt x="20" y="996"/>
                  </a:lnTo>
                  <a:lnTo>
                    <a:pt x="0" y="1052"/>
                  </a:lnTo>
                  <a:lnTo>
                    <a:pt x="426" y="1034"/>
                  </a:lnTo>
                  <a:lnTo>
                    <a:pt x="792" y="1322"/>
                  </a:lnTo>
                  <a:close/>
                </a:path>
              </a:pathLst>
            </a:custGeom>
            <a:grpFill/>
            <a:ln w="9525">
              <a:solidFill>
                <a:schemeClr val="accent6"/>
              </a:solidFill>
              <a:round/>
              <a:headEnd/>
              <a:tailEnd/>
            </a:ln>
          </p:spPr>
          <p:txBody>
            <a:bodyPr>
              <a:noAutofit/>
            </a:bodyPr>
            <a:lstStyle/>
            <a:p>
              <a:endParaRPr lang="en-US" dirty="0"/>
            </a:p>
          </p:txBody>
        </p:sp>
        <p:sp>
          <p:nvSpPr>
            <p:cNvPr id="7" name="Freeform 27"/>
            <p:cNvSpPr>
              <a:spLocks/>
            </p:cNvSpPr>
            <p:nvPr/>
          </p:nvSpPr>
          <p:spPr bwMode="auto">
            <a:xfrm>
              <a:off x="1935956" y="2729114"/>
              <a:ext cx="1738793" cy="2663605"/>
            </a:xfrm>
            <a:custGeom>
              <a:avLst/>
              <a:gdLst>
                <a:gd name="T0" fmla="*/ 1096 w 1096"/>
                <a:gd name="T1" fmla="*/ 1004 h 1680"/>
                <a:gd name="T2" fmla="*/ 1038 w 1096"/>
                <a:gd name="T3" fmla="*/ 950 h 1680"/>
                <a:gd name="T4" fmla="*/ 988 w 1096"/>
                <a:gd name="T5" fmla="*/ 890 h 1680"/>
                <a:gd name="T6" fmla="*/ 942 w 1096"/>
                <a:gd name="T7" fmla="*/ 826 h 1680"/>
                <a:gd name="T8" fmla="*/ 904 w 1096"/>
                <a:gd name="T9" fmla="*/ 756 h 1680"/>
                <a:gd name="T10" fmla="*/ 874 w 1096"/>
                <a:gd name="T11" fmla="*/ 682 h 1680"/>
                <a:gd name="T12" fmla="*/ 852 w 1096"/>
                <a:gd name="T13" fmla="*/ 606 h 1680"/>
                <a:gd name="T14" fmla="*/ 838 w 1096"/>
                <a:gd name="T15" fmla="*/ 524 h 1680"/>
                <a:gd name="T16" fmla="*/ 834 w 1096"/>
                <a:gd name="T17" fmla="*/ 440 h 1680"/>
                <a:gd name="T18" fmla="*/ 834 w 1096"/>
                <a:gd name="T19" fmla="*/ 402 h 1680"/>
                <a:gd name="T20" fmla="*/ 842 w 1096"/>
                <a:gd name="T21" fmla="*/ 328 h 1680"/>
                <a:gd name="T22" fmla="*/ 468 w 1096"/>
                <a:gd name="T23" fmla="*/ 0 h 1680"/>
                <a:gd name="T24" fmla="*/ 56 w 1096"/>
                <a:gd name="T25" fmla="*/ 18 h 1680"/>
                <a:gd name="T26" fmla="*/ 32 w 1096"/>
                <a:gd name="T27" fmla="*/ 120 h 1680"/>
                <a:gd name="T28" fmla="*/ 14 w 1096"/>
                <a:gd name="T29" fmla="*/ 224 h 1680"/>
                <a:gd name="T30" fmla="*/ 2 w 1096"/>
                <a:gd name="T31" fmla="*/ 330 h 1680"/>
                <a:gd name="T32" fmla="*/ 0 w 1096"/>
                <a:gd name="T33" fmla="*/ 438 h 1680"/>
                <a:gd name="T34" fmla="*/ 0 w 1096"/>
                <a:gd name="T35" fmla="*/ 484 h 1680"/>
                <a:gd name="T36" fmla="*/ 6 w 1096"/>
                <a:gd name="T37" fmla="*/ 578 h 1680"/>
                <a:gd name="T38" fmla="*/ 16 w 1096"/>
                <a:gd name="T39" fmla="*/ 670 h 1680"/>
                <a:gd name="T40" fmla="*/ 32 w 1096"/>
                <a:gd name="T41" fmla="*/ 760 h 1680"/>
                <a:gd name="T42" fmla="*/ 54 w 1096"/>
                <a:gd name="T43" fmla="*/ 848 h 1680"/>
                <a:gd name="T44" fmla="*/ 80 w 1096"/>
                <a:gd name="T45" fmla="*/ 936 h 1680"/>
                <a:gd name="T46" fmla="*/ 110 w 1096"/>
                <a:gd name="T47" fmla="*/ 1020 h 1680"/>
                <a:gd name="T48" fmla="*/ 146 w 1096"/>
                <a:gd name="T49" fmla="*/ 1102 h 1680"/>
                <a:gd name="T50" fmla="*/ 186 w 1096"/>
                <a:gd name="T51" fmla="*/ 1180 h 1680"/>
                <a:gd name="T52" fmla="*/ 230 w 1096"/>
                <a:gd name="T53" fmla="*/ 1258 h 1680"/>
                <a:gd name="T54" fmla="*/ 278 w 1096"/>
                <a:gd name="T55" fmla="*/ 1332 h 1680"/>
                <a:gd name="T56" fmla="*/ 330 w 1096"/>
                <a:gd name="T57" fmla="*/ 1402 h 1680"/>
                <a:gd name="T58" fmla="*/ 386 w 1096"/>
                <a:gd name="T59" fmla="*/ 1470 h 1680"/>
                <a:gd name="T60" fmla="*/ 446 w 1096"/>
                <a:gd name="T61" fmla="*/ 1534 h 1680"/>
                <a:gd name="T62" fmla="*/ 508 w 1096"/>
                <a:gd name="T63" fmla="*/ 1596 h 1680"/>
                <a:gd name="T64" fmla="*/ 574 w 1096"/>
                <a:gd name="T65" fmla="*/ 1654 h 1680"/>
                <a:gd name="T66" fmla="*/ 710 w 1096"/>
                <a:gd name="T67" fmla="*/ 1256 h 1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6"/>
                <a:gd name="T103" fmla="*/ 0 h 1680"/>
                <a:gd name="T104" fmla="*/ 1096 w 1096"/>
                <a:gd name="T105" fmla="*/ 1680 h 1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6" h="1680">
                  <a:moveTo>
                    <a:pt x="1096" y="1004"/>
                  </a:moveTo>
                  <a:lnTo>
                    <a:pt x="1096" y="1004"/>
                  </a:lnTo>
                  <a:lnTo>
                    <a:pt x="1066" y="978"/>
                  </a:lnTo>
                  <a:lnTo>
                    <a:pt x="1038" y="950"/>
                  </a:lnTo>
                  <a:lnTo>
                    <a:pt x="1012" y="920"/>
                  </a:lnTo>
                  <a:lnTo>
                    <a:pt x="988" y="890"/>
                  </a:lnTo>
                  <a:lnTo>
                    <a:pt x="964" y="858"/>
                  </a:lnTo>
                  <a:lnTo>
                    <a:pt x="942" y="826"/>
                  </a:lnTo>
                  <a:lnTo>
                    <a:pt x="922" y="792"/>
                  </a:lnTo>
                  <a:lnTo>
                    <a:pt x="904" y="756"/>
                  </a:lnTo>
                  <a:lnTo>
                    <a:pt x="888" y="720"/>
                  </a:lnTo>
                  <a:lnTo>
                    <a:pt x="874" y="682"/>
                  </a:lnTo>
                  <a:lnTo>
                    <a:pt x="862" y="644"/>
                  </a:lnTo>
                  <a:lnTo>
                    <a:pt x="852" y="606"/>
                  </a:lnTo>
                  <a:lnTo>
                    <a:pt x="844" y="566"/>
                  </a:lnTo>
                  <a:lnTo>
                    <a:pt x="838" y="524"/>
                  </a:lnTo>
                  <a:lnTo>
                    <a:pt x="834" y="482"/>
                  </a:lnTo>
                  <a:lnTo>
                    <a:pt x="834" y="440"/>
                  </a:lnTo>
                  <a:lnTo>
                    <a:pt x="834" y="402"/>
                  </a:lnTo>
                  <a:lnTo>
                    <a:pt x="838" y="366"/>
                  </a:lnTo>
                  <a:lnTo>
                    <a:pt x="842" y="328"/>
                  </a:lnTo>
                  <a:lnTo>
                    <a:pt x="848" y="292"/>
                  </a:lnTo>
                  <a:lnTo>
                    <a:pt x="468" y="0"/>
                  </a:lnTo>
                  <a:lnTo>
                    <a:pt x="56" y="18"/>
                  </a:lnTo>
                  <a:lnTo>
                    <a:pt x="42" y="68"/>
                  </a:lnTo>
                  <a:lnTo>
                    <a:pt x="32" y="120"/>
                  </a:lnTo>
                  <a:lnTo>
                    <a:pt x="22" y="172"/>
                  </a:lnTo>
                  <a:lnTo>
                    <a:pt x="14" y="224"/>
                  </a:lnTo>
                  <a:lnTo>
                    <a:pt x="8" y="276"/>
                  </a:lnTo>
                  <a:lnTo>
                    <a:pt x="2" y="330"/>
                  </a:lnTo>
                  <a:lnTo>
                    <a:pt x="0" y="384"/>
                  </a:lnTo>
                  <a:lnTo>
                    <a:pt x="0" y="438"/>
                  </a:lnTo>
                  <a:lnTo>
                    <a:pt x="0" y="484"/>
                  </a:lnTo>
                  <a:lnTo>
                    <a:pt x="2" y="532"/>
                  </a:lnTo>
                  <a:lnTo>
                    <a:pt x="6" y="578"/>
                  </a:lnTo>
                  <a:lnTo>
                    <a:pt x="10" y="624"/>
                  </a:lnTo>
                  <a:lnTo>
                    <a:pt x="16" y="670"/>
                  </a:lnTo>
                  <a:lnTo>
                    <a:pt x="24" y="716"/>
                  </a:lnTo>
                  <a:lnTo>
                    <a:pt x="32" y="760"/>
                  </a:lnTo>
                  <a:lnTo>
                    <a:pt x="42" y="804"/>
                  </a:lnTo>
                  <a:lnTo>
                    <a:pt x="54" y="848"/>
                  </a:lnTo>
                  <a:lnTo>
                    <a:pt x="66" y="892"/>
                  </a:lnTo>
                  <a:lnTo>
                    <a:pt x="80" y="936"/>
                  </a:lnTo>
                  <a:lnTo>
                    <a:pt x="94" y="978"/>
                  </a:lnTo>
                  <a:lnTo>
                    <a:pt x="110" y="1020"/>
                  </a:lnTo>
                  <a:lnTo>
                    <a:pt x="128" y="1060"/>
                  </a:lnTo>
                  <a:lnTo>
                    <a:pt x="146" y="1102"/>
                  </a:lnTo>
                  <a:lnTo>
                    <a:pt x="164" y="1142"/>
                  </a:lnTo>
                  <a:lnTo>
                    <a:pt x="186" y="1180"/>
                  </a:lnTo>
                  <a:lnTo>
                    <a:pt x="206" y="1220"/>
                  </a:lnTo>
                  <a:lnTo>
                    <a:pt x="230" y="1258"/>
                  </a:lnTo>
                  <a:lnTo>
                    <a:pt x="254" y="1294"/>
                  </a:lnTo>
                  <a:lnTo>
                    <a:pt x="278" y="1332"/>
                  </a:lnTo>
                  <a:lnTo>
                    <a:pt x="304" y="1366"/>
                  </a:lnTo>
                  <a:lnTo>
                    <a:pt x="330" y="1402"/>
                  </a:lnTo>
                  <a:lnTo>
                    <a:pt x="358" y="1436"/>
                  </a:lnTo>
                  <a:lnTo>
                    <a:pt x="386" y="1470"/>
                  </a:lnTo>
                  <a:lnTo>
                    <a:pt x="416" y="1502"/>
                  </a:lnTo>
                  <a:lnTo>
                    <a:pt x="446" y="1534"/>
                  </a:lnTo>
                  <a:lnTo>
                    <a:pt x="476" y="1566"/>
                  </a:lnTo>
                  <a:lnTo>
                    <a:pt x="508" y="1596"/>
                  </a:lnTo>
                  <a:lnTo>
                    <a:pt x="542" y="1624"/>
                  </a:lnTo>
                  <a:lnTo>
                    <a:pt x="574" y="1654"/>
                  </a:lnTo>
                  <a:lnTo>
                    <a:pt x="610" y="1680"/>
                  </a:lnTo>
                  <a:lnTo>
                    <a:pt x="710" y="1256"/>
                  </a:lnTo>
                  <a:lnTo>
                    <a:pt x="1096" y="1004"/>
                  </a:lnTo>
                  <a:close/>
                </a:path>
              </a:pathLst>
            </a:custGeom>
            <a:grpFill/>
            <a:ln w="9525">
              <a:solidFill>
                <a:schemeClr val="accent6"/>
              </a:solidFill>
              <a:round/>
              <a:headEnd/>
              <a:tailEnd/>
            </a:ln>
          </p:spPr>
          <p:txBody>
            <a:bodyPr>
              <a:noAutofit/>
            </a:bodyPr>
            <a:lstStyle/>
            <a:p>
              <a:endParaRPr lang="en-US" sz="1200" dirty="0"/>
            </a:p>
          </p:txBody>
        </p:sp>
        <p:sp>
          <p:nvSpPr>
            <p:cNvPr id="8" name="Freeform 28"/>
            <p:cNvSpPr>
              <a:spLocks/>
            </p:cNvSpPr>
            <p:nvPr/>
          </p:nvSpPr>
          <p:spPr bwMode="auto">
            <a:xfrm>
              <a:off x="4467993" y="931181"/>
              <a:ext cx="2309929" cy="2086491"/>
            </a:xfrm>
            <a:custGeom>
              <a:avLst/>
              <a:gdLst>
                <a:gd name="T0" fmla="*/ 28 w 1456"/>
                <a:gd name="T1" fmla="*/ 840 h 1316"/>
                <a:gd name="T2" fmla="*/ 28 w 1456"/>
                <a:gd name="T3" fmla="*/ 840 h 1316"/>
                <a:gd name="T4" fmla="*/ 82 w 1456"/>
                <a:gd name="T5" fmla="*/ 846 h 1316"/>
                <a:gd name="T6" fmla="*/ 136 w 1456"/>
                <a:gd name="T7" fmla="*/ 856 h 1316"/>
                <a:gd name="T8" fmla="*/ 186 w 1456"/>
                <a:gd name="T9" fmla="*/ 870 h 1316"/>
                <a:gd name="T10" fmla="*/ 236 w 1456"/>
                <a:gd name="T11" fmla="*/ 888 h 1316"/>
                <a:gd name="T12" fmla="*/ 284 w 1456"/>
                <a:gd name="T13" fmla="*/ 908 h 1316"/>
                <a:gd name="T14" fmla="*/ 330 w 1456"/>
                <a:gd name="T15" fmla="*/ 932 h 1316"/>
                <a:gd name="T16" fmla="*/ 374 w 1456"/>
                <a:gd name="T17" fmla="*/ 958 h 1316"/>
                <a:gd name="T18" fmla="*/ 416 w 1456"/>
                <a:gd name="T19" fmla="*/ 988 h 1316"/>
                <a:gd name="T20" fmla="*/ 456 w 1456"/>
                <a:gd name="T21" fmla="*/ 1020 h 1316"/>
                <a:gd name="T22" fmla="*/ 494 w 1456"/>
                <a:gd name="T23" fmla="*/ 1054 h 1316"/>
                <a:gd name="T24" fmla="*/ 530 w 1456"/>
                <a:gd name="T25" fmla="*/ 1092 h 1316"/>
                <a:gd name="T26" fmla="*/ 562 w 1456"/>
                <a:gd name="T27" fmla="*/ 1132 h 1316"/>
                <a:gd name="T28" fmla="*/ 592 w 1456"/>
                <a:gd name="T29" fmla="*/ 1174 h 1316"/>
                <a:gd name="T30" fmla="*/ 618 w 1456"/>
                <a:gd name="T31" fmla="*/ 1218 h 1316"/>
                <a:gd name="T32" fmla="*/ 642 w 1456"/>
                <a:gd name="T33" fmla="*/ 1264 h 1316"/>
                <a:gd name="T34" fmla="*/ 662 w 1456"/>
                <a:gd name="T35" fmla="*/ 1312 h 1316"/>
                <a:gd name="T36" fmla="*/ 1134 w 1456"/>
                <a:gd name="T37" fmla="*/ 1316 h 1316"/>
                <a:gd name="T38" fmla="*/ 1456 w 1456"/>
                <a:gd name="T39" fmla="*/ 1048 h 1316"/>
                <a:gd name="T40" fmla="*/ 1456 w 1456"/>
                <a:gd name="T41" fmla="*/ 1048 h 1316"/>
                <a:gd name="T42" fmla="*/ 1436 w 1456"/>
                <a:gd name="T43" fmla="*/ 992 h 1316"/>
                <a:gd name="T44" fmla="*/ 1412 w 1456"/>
                <a:gd name="T45" fmla="*/ 936 h 1316"/>
                <a:gd name="T46" fmla="*/ 1386 w 1456"/>
                <a:gd name="T47" fmla="*/ 882 h 1316"/>
                <a:gd name="T48" fmla="*/ 1360 w 1456"/>
                <a:gd name="T49" fmla="*/ 830 h 1316"/>
                <a:gd name="T50" fmla="*/ 1330 w 1456"/>
                <a:gd name="T51" fmla="*/ 778 h 1316"/>
                <a:gd name="T52" fmla="*/ 1300 w 1456"/>
                <a:gd name="T53" fmla="*/ 728 h 1316"/>
                <a:gd name="T54" fmla="*/ 1268 w 1456"/>
                <a:gd name="T55" fmla="*/ 680 h 1316"/>
                <a:gd name="T56" fmla="*/ 1234 w 1456"/>
                <a:gd name="T57" fmla="*/ 632 h 1316"/>
                <a:gd name="T58" fmla="*/ 1198 w 1456"/>
                <a:gd name="T59" fmla="*/ 584 h 1316"/>
                <a:gd name="T60" fmla="*/ 1160 w 1456"/>
                <a:gd name="T61" fmla="*/ 540 h 1316"/>
                <a:gd name="T62" fmla="*/ 1120 w 1456"/>
                <a:gd name="T63" fmla="*/ 496 h 1316"/>
                <a:gd name="T64" fmla="*/ 1078 w 1456"/>
                <a:gd name="T65" fmla="*/ 454 h 1316"/>
                <a:gd name="T66" fmla="*/ 1036 w 1456"/>
                <a:gd name="T67" fmla="*/ 414 h 1316"/>
                <a:gd name="T68" fmla="*/ 992 w 1456"/>
                <a:gd name="T69" fmla="*/ 374 h 1316"/>
                <a:gd name="T70" fmla="*/ 948 w 1456"/>
                <a:gd name="T71" fmla="*/ 338 h 1316"/>
                <a:gd name="T72" fmla="*/ 900 w 1456"/>
                <a:gd name="T73" fmla="*/ 302 h 1316"/>
                <a:gd name="T74" fmla="*/ 852 w 1456"/>
                <a:gd name="T75" fmla="*/ 268 h 1316"/>
                <a:gd name="T76" fmla="*/ 802 w 1456"/>
                <a:gd name="T77" fmla="*/ 236 h 1316"/>
                <a:gd name="T78" fmla="*/ 752 w 1456"/>
                <a:gd name="T79" fmla="*/ 206 h 1316"/>
                <a:gd name="T80" fmla="*/ 700 w 1456"/>
                <a:gd name="T81" fmla="*/ 178 h 1316"/>
                <a:gd name="T82" fmla="*/ 646 w 1456"/>
                <a:gd name="T83" fmla="*/ 152 h 1316"/>
                <a:gd name="T84" fmla="*/ 592 w 1456"/>
                <a:gd name="T85" fmla="*/ 126 h 1316"/>
                <a:gd name="T86" fmla="*/ 538 w 1456"/>
                <a:gd name="T87" fmla="*/ 104 h 1316"/>
                <a:gd name="T88" fmla="*/ 480 w 1456"/>
                <a:gd name="T89" fmla="*/ 84 h 1316"/>
                <a:gd name="T90" fmla="*/ 424 w 1456"/>
                <a:gd name="T91" fmla="*/ 66 h 1316"/>
                <a:gd name="T92" fmla="*/ 366 w 1456"/>
                <a:gd name="T93" fmla="*/ 50 h 1316"/>
                <a:gd name="T94" fmla="*/ 306 w 1456"/>
                <a:gd name="T95" fmla="*/ 36 h 1316"/>
                <a:gd name="T96" fmla="*/ 246 w 1456"/>
                <a:gd name="T97" fmla="*/ 24 h 1316"/>
                <a:gd name="T98" fmla="*/ 186 w 1456"/>
                <a:gd name="T99" fmla="*/ 14 h 1316"/>
                <a:gd name="T100" fmla="*/ 124 w 1456"/>
                <a:gd name="T101" fmla="*/ 8 h 1316"/>
                <a:gd name="T102" fmla="*/ 62 w 1456"/>
                <a:gd name="T103" fmla="*/ 2 h 1316"/>
                <a:gd name="T104" fmla="*/ 0 w 1456"/>
                <a:gd name="T105" fmla="*/ 0 h 1316"/>
                <a:gd name="T106" fmla="*/ 166 w 1456"/>
                <a:gd name="T107" fmla="*/ 398 h 1316"/>
                <a:gd name="T108" fmla="*/ 28 w 1456"/>
                <a:gd name="T109" fmla="*/ 840 h 1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56"/>
                <a:gd name="T166" fmla="*/ 0 h 1316"/>
                <a:gd name="T167" fmla="*/ 1456 w 1456"/>
                <a:gd name="T168" fmla="*/ 1316 h 1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56" h="1316">
                  <a:moveTo>
                    <a:pt x="28" y="840"/>
                  </a:moveTo>
                  <a:lnTo>
                    <a:pt x="28" y="840"/>
                  </a:lnTo>
                  <a:lnTo>
                    <a:pt x="82" y="846"/>
                  </a:lnTo>
                  <a:lnTo>
                    <a:pt x="136" y="856"/>
                  </a:lnTo>
                  <a:lnTo>
                    <a:pt x="186" y="870"/>
                  </a:lnTo>
                  <a:lnTo>
                    <a:pt x="236" y="888"/>
                  </a:lnTo>
                  <a:lnTo>
                    <a:pt x="284" y="908"/>
                  </a:lnTo>
                  <a:lnTo>
                    <a:pt x="330" y="932"/>
                  </a:lnTo>
                  <a:lnTo>
                    <a:pt x="374" y="958"/>
                  </a:lnTo>
                  <a:lnTo>
                    <a:pt x="416" y="988"/>
                  </a:lnTo>
                  <a:lnTo>
                    <a:pt x="456" y="1020"/>
                  </a:lnTo>
                  <a:lnTo>
                    <a:pt x="494" y="1054"/>
                  </a:lnTo>
                  <a:lnTo>
                    <a:pt x="530" y="1092"/>
                  </a:lnTo>
                  <a:lnTo>
                    <a:pt x="562" y="1132"/>
                  </a:lnTo>
                  <a:lnTo>
                    <a:pt x="592" y="1174"/>
                  </a:lnTo>
                  <a:lnTo>
                    <a:pt x="618" y="1218"/>
                  </a:lnTo>
                  <a:lnTo>
                    <a:pt x="642" y="1264"/>
                  </a:lnTo>
                  <a:lnTo>
                    <a:pt x="662" y="1312"/>
                  </a:lnTo>
                  <a:lnTo>
                    <a:pt x="1134" y="1316"/>
                  </a:lnTo>
                  <a:lnTo>
                    <a:pt x="1456" y="1048"/>
                  </a:lnTo>
                  <a:lnTo>
                    <a:pt x="1436" y="992"/>
                  </a:lnTo>
                  <a:lnTo>
                    <a:pt x="1412" y="936"/>
                  </a:lnTo>
                  <a:lnTo>
                    <a:pt x="1386" y="882"/>
                  </a:lnTo>
                  <a:lnTo>
                    <a:pt x="1360" y="830"/>
                  </a:lnTo>
                  <a:lnTo>
                    <a:pt x="1330" y="778"/>
                  </a:lnTo>
                  <a:lnTo>
                    <a:pt x="1300" y="728"/>
                  </a:lnTo>
                  <a:lnTo>
                    <a:pt x="1268" y="680"/>
                  </a:lnTo>
                  <a:lnTo>
                    <a:pt x="1234" y="632"/>
                  </a:lnTo>
                  <a:lnTo>
                    <a:pt x="1198" y="584"/>
                  </a:lnTo>
                  <a:lnTo>
                    <a:pt x="1160" y="540"/>
                  </a:lnTo>
                  <a:lnTo>
                    <a:pt x="1120" y="496"/>
                  </a:lnTo>
                  <a:lnTo>
                    <a:pt x="1078" y="454"/>
                  </a:lnTo>
                  <a:lnTo>
                    <a:pt x="1036" y="414"/>
                  </a:lnTo>
                  <a:lnTo>
                    <a:pt x="992" y="374"/>
                  </a:lnTo>
                  <a:lnTo>
                    <a:pt x="948" y="338"/>
                  </a:lnTo>
                  <a:lnTo>
                    <a:pt x="900" y="302"/>
                  </a:lnTo>
                  <a:lnTo>
                    <a:pt x="852" y="268"/>
                  </a:lnTo>
                  <a:lnTo>
                    <a:pt x="802" y="236"/>
                  </a:lnTo>
                  <a:lnTo>
                    <a:pt x="752" y="206"/>
                  </a:lnTo>
                  <a:lnTo>
                    <a:pt x="700" y="178"/>
                  </a:lnTo>
                  <a:lnTo>
                    <a:pt x="646" y="152"/>
                  </a:lnTo>
                  <a:lnTo>
                    <a:pt x="592" y="126"/>
                  </a:lnTo>
                  <a:lnTo>
                    <a:pt x="538" y="104"/>
                  </a:lnTo>
                  <a:lnTo>
                    <a:pt x="480" y="84"/>
                  </a:lnTo>
                  <a:lnTo>
                    <a:pt x="424" y="66"/>
                  </a:lnTo>
                  <a:lnTo>
                    <a:pt x="366" y="50"/>
                  </a:lnTo>
                  <a:lnTo>
                    <a:pt x="306" y="36"/>
                  </a:lnTo>
                  <a:lnTo>
                    <a:pt x="246" y="24"/>
                  </a:lnTo>
                  <a:lnTo>
                    <a:pt x="186" y="14"/>
                  </a:lnTo>
                  <a:lnTo>
                    <a:pt x="124" y="8"/>
                  </a:lnTo>
                  <a:lnTo>
                    <a:pt x="62" y="2"/>
                  </a:lnTo>
                  <a:lnTo>
                    <a:pt x="0" y="0"/>
                  </a:lnTo>
                  <a:lnTo>
                    <a:pt x="166" y="398"/>
                  </a:lnTo>
                  <a:lnTo>
                    <a:pt x="28" y="840"/>
                  </a:lnTo>
                  <a:close/>
                </a:path>
              </a:pathLst>
            </a:custGeom>
            <a:grpFill/>
            <a:ln w="9525">
              <a:solidFill>
                <a:schemeClr val="accent6"/>
              </a:solidFill>
              <a:round/>
              <a:headEnd/>
              <a:tailEnd/>
            </a:ln>
          </p:spPr>
          <p:txBody>
            <a:bodyPr>
              <a:noAutofit/>
            </a:bodyPr>
            <a:lstStyle/>
            <a:p>
              <a:endParaRPr lang="en-US" dirty="0"/>
            </a:p>
          </p:txBody>
        </p:sp>
        <p:sp>
          <p:nvSpPr>
            <p:cNvPr id="9" name="Freeform 29"/>
            <p:cNvSpPr>
              <a:spLocks/>
            </p:cNvSpPr>
            <p:nvPr/>
          </p:nvSpPr>
          <p:spPr bwMode="auto">
            <a:xfrm>
              <a:off x="5169221" y="2738627"/>
              <a:ext cx="1751485" cy="2673118"/>
            </a:xfrm>
            <a:custGeom>
              <a:avLst/>
              <a:gdLst>
                <a:gd name="T0" fmla="*/ 1104 w 1104"/>
                <a:gd name="T1" fmla="*/ 432 h 1686"/>
                <a:gd name="T2" fmla="*/ 1100 w 1104"/>
                <a:gd name="T3" fmla="*/ 320 h 1686"/>
                <a:gd name="T4" fmla="*/ 1088 w 1104"/>
                <a:gd name="T5" fmla="*/ 212 h 1686"/>
                <a:gd name="T6" fmla="*/ 1070 w 1104"/>
                <a:gd name="T7" fmla="*/ 104 h 1686"/>
                <a:gd name="T8" fmla="*/ 1044 w 1104"/>
                <a:gd name="T9" fmla="*/ 0 h 1686"/>
                <a:gd name="T10" fmla="*/ 248 w 1104"/>
                <a:gd name="T11" fmla="*/ 264 h 1686"/>
                <a:gd name="T12" fmla="*/ 256 w 1104"/>
                <a:gd name="T13" fmla="*/ 306 h 1686"/>
                <a:gd name="T14" fmla="*/ 266 w 1104"/>
                <a:gd name="T15" fmla="*/ 392 h 1686"/>
                <a:gd name="T16" fmla="*/ 268 w 1104"/>
                <a:gd name="T17" fmla="*/ 434 h 1686"/>
                <a:gd name="T18" fmla="*/ 262 w 1104"/>
                <a:gd name="T19" fmla="*/ 520 h 1686"/>
                <a:gd name="T20" fmla="*/ 248 w 1104"/>
                <a:gd name="T21" fmla="*/ 602 h 1686"/>
                <a:gd name="T22" fmla="*/ 226 w 1104"/>
                <a:gd name="T23" fmla="*/ 680 h 1686"/>
                <a:gd name="T24" fmla="*/ 194 w 1104"/>
                <a:gd name="T25" fmla="*/ 754 h 1686"/>
                <a:gd name="T26" fmla="*/ 156 w 1104"/>
                <a:gd name="T27" fmla="*/ 824 h 1686"/>
                <a:gd name="T28" fmla="*/ 110 w 1104"/>
                <a:gd name="T29" fmla="*/ 890 h 1686"/>
                <a:gd name="T30" fmla="*/ 58 w 1104"/>
                <a:gd name="T31" fmla="*/ 950 h 1686"/>
                <a:gd name="T32" fmla="*/ 0 w 1104"/>
                <a:gd name="T33" fmla="*/ 1004 h 1686"/>
                <a:gd name="T34" fmla="*/ 478 w 1104"/>
                <a:gd name="T35" fmla="*/ 1686 h 1686"/>
                <a:gd name="T36" fmla="*/ 514 w 1104"/>
                <a:gd name="T37" fmla="*/ 1660 h 1686"/>
                <a:gd name="T38" fmla="*/ 582 w 1104"/>
                <a:gd name="T39" fmla="*/ 1602 h 1686"/>
                <a:gd name="T40" fmla="*/ 646 w 1104"/>
                <a:gd name="T41" fmla="*/ 1540 h 1686"/>
                <a:gd name="T42" fmla="*/ 706 w 1104"/>
                <a:gd name="T43" fmla="*/ 1476 h 1686"/>
                <a:gd name="T44" fmla="*/ 764 w 1104"/>
                <a:gd name="T45" fmla="*/ 1408 h 1686"/>
                <a:gd name="T46" fmla="*/ 818 w 1104"/>
                <a:gd name="T47" fmla="*/ 1336 h 1686"/>
                <a:gd name="T48" fmla="*/ 868 w 1104"/>
                <a:gd name="T49" fmla="*/ 1262 h 1686"/>
                <a:gd name="T50" fmla="*/ 912 w 1104"/>
                <a:gd name="T51" fmla="*/ 1184 h 1686"/>
                <a:gd name="T52" fmla="*/ 954 w 1104"/>
                <a:gd name="T53" fmla="*/ 1104 h 1686"/>
                <a:gd name="T54" fmla="*/ 990 w 1104"/>
                <a:gd name="T55" fmla="*/ 1020 h 1686"/>
                <a:gd name="T56" fmla="*/ 1022 w 1104"/>
                <a:gd name="T57" fmla="*/ 936 h 1686"/>
                <a:gd name="T58" fmla="*/ 1048 w 1104"/>
                <a:gd name="T59" fmla="*/ 848 h 1686"/>
                <a:gd name="T60" fmla="*/ 1070 w 1104"/>
                <a:gd name="T61" fmla="*/ 758 h 1686"/>
                <a:gd name="T62" fmla="*/ 1086 w 1104"/>
                <a:gd name="T63" fmla="*/ 668 h 1686"/>
                <a:gd name="T64" fmla="*/ 1098 w 1104"/>
                <a:gd name="T65" fmla="*/ 574 h 1686"/>
                <a:gd name="T66" fmla="*/ 1102 w 1104"/>
                <a:gd name="T67" fmla="*/ 480 h 1686"/>
                <a:gd name="T68" fmla="*/ 1104 w 1104"/>
                <a:gd name="T69" fmla="*/ 432 h 16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04"/>
                <a:gd name="T106" fmla="*/ 0 h 1686"/>
                <a:gd name="T107" fmla="*/ 1104 w 1104"/>
                <a:gd name="T108" fmla="*/ 1686 h 16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04" h="1686">
                  <a:moveTo>
                    <a:pt x="1104" y="432"/>
                  </a:moveTo>
                  <a:lnTo>
                    <a:pt x="1104" y="432"/>
                  </a:lnTo>
                  <a:lnTo>
                    <a:pt x="1102" y="376"/>
                  </a:lnTo>
                  <a:lnTo>
                    <a:pt x="1100" y="320"/>
                  </a:lnTo>
                  <a:lnTo>
                    <a:pt x="1096" y="266"/>
                  </a:lnTo>
                  <a:lnTo>
                    <a:pt x="1088" y="212"/>
                  </a:lnTo>
                  <a:lnTo>
                    <a:pt x="1080" y="158"/>
                  </a:lnTo>
                  <a:lnTo>
                    <a:pt x="1070" y="104"/>
                  </a:lnTo>
                  <a:lnTo>
                    <a:pt x="1058" y="52"/>
                  </a:lnTo>
                  <a:lnTo>
                    <a:pt x="1044" y="0"/>
                  </a:lnTo>
                  <a:lnTo>
                    <a:pt x="710" y="272"/>
                  </a:lnTo>
                  <a:lnTo>
                    <a:pt x="248" y="264"/>
                  </a:lnTo>
                  <a:lnTo>
                    <a:pt x="256" y="306"/>
                  </a:lnTo>
                  <a:lnTo>
                    <a:pt x="262" y="348"/>
                  </a:lnTo>
                  <a:lnTo>
                    <a:pt x="266" y="392"/>
                  </a:lnTo>
                  <a:lnTo>
                    <a:pt x="268" y="434"/>
                  </a:lnTo>
                  <a:lnTo>
                    <a:pt x="266" y="478"/>
                  </a:lnTo>
                  <a:lnTo>
                    <a:pt x="262" y="520"/>
                  </a:lnTo>
                  <a:lnTo>
                    <a:pt x="256" y="560"/>
                  </a:lnTo>
                  <a:lnTo>
                    <a:pt x="248" y="602"/>
                  </a:lnTo>
                  <a:lnTo>
                    <a:pt x="238" y="642"/>
                  </a:lnTo>
                  <a:lnTo>
                    <a:pt x="226" y="680"/>
                  </a:lnTo>
                  <a:lnTo>
                    <a:pt x="212" y="718"/>
                  </a:lnTo>
                  <a:lnTo>
                    <a:pt x="194" y="754"/>
                  </a:lnTo>
                  <a:lnTo>
                    <a:pt x="176" y="790"/>
                  </a:lnTo>
                  <a:lnTo>
                    <a:pt x="156" y="824"/>
                  </a:lnTo>
                  <a:lnTo>
                    <a:pt x="134" y="858"/>
                  </a:lnTo>
                  <a:lnTo>
                    <a:pt x="110" y="890"/>
                  </a:lnTo>
                  <a:lnTo>
                    <a:pt x="84" y="920"/>
                  </a:lnTo>
                  <a:lnTo>
                    <a:pt x="58" y="950"/>
                  </a:lnTo>
                  <a:lnTo>
                    <a:pt x="30" y="978"/>
                  </a:lnTo>
                  <a:lnTo>
                    <a:pt x="0" y="1004"/>
                  </a:lnTo>
                  <a:lnTo>
                    <a:pt x="126" y="1458"/>
                  </a:lnTo>
                  <a:lnTo>
                    <a:pt x="478" y="1686"/>
                  </a:lnTo>
                  <a:lnTo>
                    <a:pt x="514" y="1660"/>
                  </a:lnTo>
                  <a:lnTo>
                    <a:pt x="548" y="1630"/>
                  </a:lnTo>
                  <a:lnTo>
                    <a:pt x="582" y="1602"/>
                  </a:lnTo>
                  <a:lnTo>
                    <a:pt x="614" y="1572"/>
                  </a:lnTo>
                  <a:lnTo>
                    <a:pt x="646" y="1540"/>
                  </a:lnTo>
                  <a:lnTo>
                    <a:pt x="676" y="1508"/>
                  </a:lnTo>
                  <a:lnTo>
                    <a:pt x="706" y="1476"/>
                  </a:lnTo>
                  <a:lnTo>
                    <a:pt x="736" y="1442"/>
                  </a:lnTo>
                  <a:lnTo>
                    <a:pt x="764" y="1408"/>
                  </a:lnTo>
                  <a:lnTo>
                    <a:pt x="792" y="1372"/>
                  </a:lnTo>
                  <a:lnTo>
                    <a:pt x="818" y="1336"/>
                  </a:lnTo>
                  <a:lnTo>
                    <a:pt x="842" y="1298"/>
                  </a:lnTo>
                  <a:lnTo>
                    <a:pt x="868" y="1262"/>
                  </a:lnTo>
                  <a:lnTo>
                    <a:pt x="890" y="1222"/>
                  </a:lnTo>
                  <a:lnTo>
                    <a:pt x="912" y="1184"/>
                  </a:lnTo>
                  <a:lnTo>
                    <a:pt x="934" y="1144"/>
                  </a:lnTo>
                  <a:lnTo>
                    <a:pt x="954" y="1104"/>
                  </a:lnTo>
                  <a:lnTo>
                    <a:pt x="972" y="1062"/>
                  </a:lnTo>
                  <a:lnTo>
                    <a:pt x="990" y="1020"/>
                  </a:lnTo>
                  <a:lnTo>
                    <a:pt x="1006" y="978"/>
                  </a:lnTo>
                  <a:lnTo>
                    <a:pt x="1022" y="936"/>
                  </a:lnTo>
                  <a:lnTo>
                    <a:pt x="1036" y="892"/>
                  </a:lnTo>
                  <a:lnTo>
                    <a:pt x="1048" y="848"/>
                  </a:lnTo>
                  <a:lnTo>
                    <a:pt x="1060" y="804"/>
                  </a:lnTo>
                  <a:lnTo>
                    <a:pt x="1070" y="758"/>
                  </a:lnTo>
                  <a:lnTo>
                    <a:pt x="1078" y="714"/>
                  </a:lnTo>
                  <a:lnTo>
                    <a:pt x="1086" y="668"/>
                  </a:lnTo>
                  <a:lnTo>
                    <a:pt x="1092" y="622"/>
                  </a:lnTo>
                  <a:lnTo>
                    <a:pt x="1098" y="574"/>
                  </a:lnTo>
                  <a:lnTo>
                    <a:pt x="1100" y="528"/>
                  </a:lnTo>
                  <a:lnTo>
                    <a:pt x="1102" y="480"/>
                  </a:lnTo>
                  <a:lnTo>
                    <a:pt x="1104" y="432"/>
                  </a:lnTo>
                  <a:close/>
                </a:path>
              </a:pathLst>
            </a:custGeom>
            <a:grpFill/>
            <a:ln w="9525">
              <a:solidFill>
                <a:schemeClr val="accent6"/>
              </a:solidFill>
              <a:round/>
              <a:headEnd/>
              <a:tailEnd/>
            </a:ln>
          </p:spPr>
          <p:txBody>
            <a:bodyPr>
              <a:noAutofit/>
            </a:bodyPr>
            <a:lstStyle/>
            <a:p>
              <a:endParaRPr lang="en-US" dirty="0"/>
            </a:p>
          </p:txBody>
        </p:sp>
        <p:sp>
          <p:nvSpPr>
            <p:cNvPr id="10" name="Freeform 30"/>
            <p:cNvSpPr>
              <a:spLocks/>
            </p:cNvSpPr>
            <p:nvPr/>
          </p:nvSpPr>
          <p:spPr bwMode="auto">
            <a:xfrm>
              <a:off x="3024288" y="4409722"/>
              <a:ext cx="2776357" cy="1503034"/>
            </a:xfrm>
            <a:custGeom>
              <a:avLst/>
              <a:gdLst>
                <a:gd name="T0" fmla="*/ 1272 w 1750"/>
                <a:gd name="T1" fmla="*/ 6 h 948"/>
                <a:gd name="T2" fmla="*/ 1272 w 1750"/>
                <a:gd name="T3" fmla="*/ 6 h 948"/>
                <a:gd name="T4" fmla="*/ 1230 w 1750"/>
                <a:gd name="T5" fmla="*/ 30 h 948"/>
                <a:gd name="T6" fmla="*/ 1184 w 1750"/>
                <a:gd name="T7" fmla="*/ 52 h 948"/>
                <a:gd name="T8" fmla="*/ 1138 w 1750"/>
                <a:gd name="T9" fmla="*/ 72 h 948"/>
                <a:gd name="T10" fmla="*/ 1090 w 1750"/>
                <a:gd name="T11" fmla="*/ 88 h 948"/>
                <a:gd name="T12" fmla="*/ 1040 w 1750"/>
                <a:gd name="T13" fmla="*/ 100 h 948"/>
                <a:gd name="T14" fmla="*/ 988 w 1750"/>
                <a:gd name="T15" fmla="*/ 110 h 948"/>
                <a:gd name="T16" fmla="*/ 936 w 1750"/>
                <a:gd name="T17" fmla="*/ 116 h 948"/>
                <a:gd name="T18" fmla="*/ 884 w 1750"/>
                <a:gd name="T19" fmla="*/ 116 h 948"/>
                <a:gd name="T20" fmla="*/ 884 w 1750"/>
                <a:gd name="T21" fmla="*/ 116 h 948"/>
                <a:gd name="T22" fmla="*/ 830 w 1750"/>
                <a:gd name="T23" fmla="*/ 114 h 948"/>
                <a:gd name="T24" fmla="*/ 776 w 1750"/>
                <a:gd name="T25" fmla="*/ 110 h 948"/>
                <a:gd name="T26" fmla="*/ 724 w 1750"/>
                <a:gd name="T27" fmla="*/ 100 h 948"/>
                <a:gd name="T28" fmla="*/ 672 w 1750"/>
                <a:gd name="T29" fmla="*/ 86 h 948"/>
                <a:gd name="T30" fmla="*/ 624 w 1750"/>
                <a:gd name="T31" fmla="*/ 70 h 948"/>
                <a:gd name="T32" fmla="*/ 576 w 1750"/>
                <a:gd name="T33" fmla="*/ 50 h 948"/>
                <a:gd name="T34" fmla="*/ 530 w 1750"/>
                <a:gd name="T35" fmla="*/ 26 h 948"/>
                <a:gd name="T36" fmla="*/ 486 w 1750"/>
                <a:gd name="T37" fmla="*/ 0 h 948"/>
                <a:gd name="T38" fmla="*/ 96 w 1750"/>
                <a:gd name="T39" fmla="*/ 266 h 948"/>
                <a:gd name="T40" fmla="*/ 0 w 1750"/>
                <a:gd name="T41" fmla="*/ 678 h 948"/>
                <a:gd name="T42" fmla="*/ 0 w 1750"/>
                <a:gd name="T43" fmla="*/ 678 h 948"/>
                <a:gd name="T44" fmla="*/ 48 w 1750"/>
                <a:gd name="T45" fmla="*/ 708 h 948"/>
                <a:gd name="T46" fmla="*/ 98 w 1750"/>
                <a:gd name="T47" fmla="*/ 738 h 948"/>
                <a:gd name="T48" fmla="*/ 148 w 1750"/>
                <a:gd name="T49" fmla="*/ 766 h 948"/>
                <a:gd name="T50" fmla="*/ 200 w 1750"/>
                <a:gd name="T51" fmla="*/ 792 h 948"/>
                <a:gd name="T52" fmla="*/ 252 w 1750"/>
                <a:gd name="T53" fmla="*/ 816 h 948"/>
                <a:gd name="T54" fmla="*/ 304 w 1750"/>
                <a:gd name="T55" fmla="*/ 838 h 948"/>
                <a:gd name="T56" fmla="*/ 360 w 1750"/>
                <a:gd name="T57" fmla="*/ 858 h 948"/>
                <a:gd name="T58" fmla="*/ 414 w 1750"/>
                <a:gd name="T59" fmla="*/ 878 h 948"/>
                <a:gd name="T60" fmla="*/ 470 w 1750"/>
                <a:gd name="T61" fmla="*/ 894 h 948"/>
                <a:gd name="T62" fmla="*/ 528 w 1750"/>
                <a:gd name="T63" fmla="*/ 908 h 948"/>
                <a:gd name="T64" fmla="*/ 586 w 1750"/>
                <a:gd name="T65" fmla="*/ 920 h 948"/>
                <a:gd name="T66" fmla="*/ 644 w 1750"/>
                <a:gd name="T67" fmla="*/ 930 h 948"/>
                <a:gd name="T68" fmla="*/ 702 w 1750"/>
                <a:gd name="T69" fmla="*/ 938 h 948"/>
                <a:gd name="T70" fmla="*/ 762 w 1750"/>
                <a:gd name="T71" fmla="*/ 944 h 948"/>
                <a:gd name="T72" fmla="*/ 824 w 1750"/>
                <a:gd name="T73" fmla="*/ 948 h 948"/>
                <a:gd name="T74" fmla="*/ 884 w 1750"/>
                <a:gd name="T75" fmla="*/ 948 h 948"/>
                <a:gd name="T76" fmla="*/ 884 w 1750"/>
                <a:gd name="T77" fmla="*/ 948 h 948"/>
                <a:gd name="T78" fmla="*/ 944 w 1750"/>
                <a:gd name="T79" fmla="*/ 948 h 948"/>
                <a:gd name="T80" fmla="*/ 1004 w 1750"/>
                <a:gd name="T81" fmla="*/ 944 h 948"/>
                <a:gd name="T82" fmla="*/ 1062 w 1750"/>
                <a:gd name="T83" fmla="*/ 938 h 948"/>
                <a:gd name="T84" fmla="*/ 1120 w 1750"/>
                <a:gd name="T85" fmla="*/ 932 h 948"/>
                <a:gd name="T86" fmla="*/ 1178 w 1750"/>
                <a:gd name="T87" fmla="*/ 922 h 948"/>
                <a:gd name="T88" fmla="*/ 1234 w 1750"/>
                <a:gd name="T89" fmla="*/ 910 h 948"/>
                <a:gd name="T90" fmla="*/ 1290 w 1750"/>
                <a:gd name="T91" fmla="*/ 896 h 948"/>
                <a:gd name="T92" fmla="*/ 1344 w 1750"/>
                <a:gd name="T93" fmla="*/ 880 h 948"/>
                <a:gd name="T94" fmla="*/ 1398 w 1750"/>
                <a:gd name="T95" fmla="*/ 862 h 948"/>
                <a:gd name="T96" fmla="*/ 1452 w 1750"/>
                <a:gd name="T97" fmla="*/ 844 h 948"/>
                <a:gd name="T98" fmla="*/ 1504 w 1750"/>
                <a:gd name="T99" fmla="*/ 822 h 948"/>
                <a:gd name="T100" fmla="*/ 1556 w 1750"/>
                <a:gd name="T101" fmla="*/ 798 h 948"/>
                <a:gd name="T102" fmla="*/ 1606 w 1750"/>
                <a:gd name="T103" fmla="*/ 774 h 948"/>
                <a:gd name="T104" fmla="*/ 1656 w 1750"/>
                <a:gd name="T105" fmla="*/ 748 h 948"/>
                <a:gd name="T106" fmla="*/ 1704 w 1750"/>
                <a:gd name="T107" fmla="*/ 718 h 948"/>
                <a:gd name="T108" fmla="*/ 1750 w 1750"/>
                <a:gd name="T109" fmla="*/ 688 h 948"/>
                <a:gd name="T110" fmla="*/ 1390 w 1750"/>
                <a:gd name="T111" fmla="*/ 452 h 948"/>
                <a:gd name="T112" fmla="*/ 1272 w 1750"/>
                <a:gd name="T113" fmla="*/ 6 h 9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50"/>
                <a:gd name="T172" fmla="*/ 0 h 948"/>
                <a:gd name="T173" fmla="*/ 1750 w 1750"/>
                <a:gd name="T174" fmla="*/ 948 h 94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50" h="948">
                  <a:moveTo>
                    <a:pt x="1272" y="6"/>
                  </a:moveTo>
                  <a:lnTo>
                    <a:pt x="1272" y="6"/>
                  </a:lnTo>
                  <a:lnTo>
                    <a:pt x="1230" y="30"/>
                  </a:lnTo>
                  <a:lnTo>
                    <a:pt x="1184" y="52"/>
                  </a:lnTo>
                  <a:lnTo>
                    <a:pt x="1138" y="72"/>
                  </a:lnTo>
                  <a:lnTo>
                    <a:pt x="1090" y="88"/>
                  </a:lnTo>
                  <a:lnTo>
                    <a:pt x="1040" y="100"/>
                  </a:lnTo>
                  <a:lnTo>
                    <a:pt x="988" y="110"/>
                  </a:lnTo>
                  <a:lnTo>
                    <a:pt x="936" y="116"/>
                  </a:lnTo>
                  <a:lnTo>
                    <a:pt x="884" y="116"/>
                  </a:lnTo>
                  <a:lnTo>
                    <a:pt x="830" y="114"/>
                  </a:lnTo>
                  <a:lnTo>
                    <a:pt x="776" y="110"/>
                  </a:lnTo>
                  <a:lnTo>
                    <a:pt x="724" y="100"/>
                  </a:lnTo>
                  <a:lnTo>
                    <a:pt x="672" y="86"/>
                  </a:lnTo>
                  <a:lnTo>
                    <a:pt x="624" y="70"/>
                  </a:lnTo>
                  <a:lnTo>
                    <a:pt x="576" y="50"/>
                  </a:lnTo>
                  <a:lnTo>
                    <a:pt x="530" y="26"/>
                  </a:lnTo>
                  <a:lnTo>
                    <a:pt x="486" y="0"/>
                  </a:lnTo>
                  <a:lnTo>
                    <a:pt x="96" y="266"/>
                  </a:lnTo>
                  <a:lnTo>
                    <a:pt x="0" y="678"/>
                  </a:lnTo>
                  <a:lnTo>
                    <a:pt x="48" y="708"/>
                  </a:lnTo>
                  <a:lnTo>
                    <a:pt x="98" y="738"/>
                  </a:lnTo>
                  <a:lnTo>
                    <a:pt x="148" y="766"/>
                  </a:lnTo>
                  <a:lnTo>
                    <a:pt x="200" y="792"/>
                  </a:lnTo>
                  <a:lnTo>
                    <a:pt x="252" y="816"/>
                  </a:lnTo>
                  <a:lnTo>
                    <a:pt x="304" y="838"/>
                  </a:lnTo>
                  <a:lnTo>
                    <a:pt x="360" y="858"/>
                  </a:lnTo>
                  <a:lnTo>
                    <a:pt x="414" y="878"/>
                  </a:lnTo>
                  <a:lnTo>
                    <a:pt x="470" y="894"/>
                  </a:lnTo>
                  <a:lnTo>
                    <a:pt x="528" y="908"/>
                  </a:lnTo>
                  <a:lnTo>
                    <a:pt x="586" y="920"/>
                  </a:lnTo>
                  <a:lnTo>
                    <a:pt x="644" y="930"/>
                  </a:lnTo>
                  <a:lnTo>
                    <a:pt x="702" y="938"/>
                  </a:lnTo>
                  <a:lnTo>
                    <a:pt x="762" y="944"/>
                  </a:lnTo>
                  <a:lnTo>
                    <a:pt x="824" y="948"/>
                  </a:lnTo>
                  <a:lnTo>
                    <a:pt x="884" y="948"/>
                  </a:lnTo>
                  <a:lnTo>
                    <a:pt x="944" y="948"/>
                  </a:lnTo>
                  <a:lnTo>
                    <a:pt x="1004" y="944"/>
                  </a:lnTo>
                  <a:lnTo>
                    <a:pt x="1062" y="938"/>
                  </a:lnTo>
                  <a:lnTo>
                    <a:pt x="1120" y="932"/>
                  </a:lnTo>
                  <a:lnTo>
                    <a:pt x="1178" y="922"/>
                  </a:lnTo>
                  <a:lnTo>
                    <a:pt x="1234" y="910"/>
                  </a:lnTo>
                  <a:lnTo>
                    <a:pt x="1290" y="896"/>
                  </a:lnTo>
                  <a:lnTo>
                    <a:pt x="1344" y="880"/>
                  </a:lnTo>
                  <a:lnTo>
                    <a:pt x="1398" y="862"/>
                  </a:lnTo>
                  <a:lnTo>
                    <a:pt x="1452" y="844"/>
                  </a:lnTo>
                  <a:lnTo>
                    <a:pt x="1504" y="822"/>
                  </a:lnTo>
                  <a:lnTo>
                    <a:pt x="1556" y="798"/>
                  </a:lnTo>
                  <a:lnTo>
                    <a:pt x="1606" y="774"/>
                  </a:lnTo>
                  <a:lnTo>
                    <a:pt x="1656" y="748"/>
                  </a:lnTo>
                  <a:lnTo>
                    <a:pt x="1704" y="718"/>
                  </a:lnTo>
                  <a:lnTo>
                    <a:pt x="1750" y="688"/>
                  </a:lnTo>
                  <a:lnTo>
                    <a:pt x="1390" y="452"/>
                  </a:lnTo>
                  <a:lnTo>
                    <a:pt x="1272" y="6"/>
                  </a:lnTo>
                  <a:close/>
                </a:path>
              </a:pathLst>
            </a:custGeom>
            <a:grpFill/>
            <a:ln w="9525">
              <a:solidFill>
                <a:schemeClr val="accent6"/>
              </a:solidFill>
              <a:round/>
              <a:headEnd/>
              <a:tailEnd/>
            </a:ln>
          </p:spPr>
          <p:txBody>
            <a:bodyPr>
              <a:noAutofit/>
            </a:bodyPr>
            <a:lstStyle/>
            <a:p>
              <a:endParaRPr lang="en-US" dirty="0"/>
            </a:p>
          </p:txBody>
        </p:sp>
        <p:sp>
          <p:nvSpPr>
            <p:cNvPr id="11" name="Rectangle 286"/>
            <p:cNvSpPr txBox="1">
              <a:spLocks noChangeArrowheads="1"/>
            </p:cNvSpPr>
            <p:nvPr/>
          </p:nvSpPr>
          <p:spPr bwMode="auto">
            <a:xfrm>
              <a:off x="4840189" y="1878939"/>
              <a:ext cx="1421777" cy="2707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2. CountVectorizer </a:t>
              </a:r>
              <a:br>
                <a:rPr lang="en-US" sz="1200" b="1" dirty="0"/>
              </a:br>
              <a:r>
                <a:rPr lang="en-US" sz="1200" b="1" dirty="0"/>
                <a:t>choose # of words/features</a:t>
              </a:r>
              <a:br>
                <a:rPr lang="en-US" sz="1200" b="1" dirty="0"/>
              </a:br>
              <a:r>
                <a:rPr lang="en-US" sz="1200" b="1" dirty="0"/>
                <a:t>(1000 – 5000)</a:t>
              </a:r>
            </a:p>
          </p:txBody>
        </p:sp>
        <p:sp>
          <p:nvSpPr>
            <p:cNvPr id="12" name="Rectangle 286"/>
            <p:cNvSpPr txBox="1">
              <a:spLocks noChangeArrowheads="1"/>
            </p:cNvSpPr>
            <p:nvPr/>
          </p:nvSpPr>
          <p:spPr bwMode="auto">
            <a:xfrm>
              <a:off x="5568854" y="3918530"/>
              <a:ext cx="1186460" cy="2707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3. CountVectorizer </a:t>
              </a:r>
              <a:br>
                <a:rPr lang="en-US" sz="1200" b="1" dirty="0"/>
              </a:br>
              <a:r>
                <a:rPr lang="en-US" sz="1200" b="1" dirty="0"/>
                <a:t>choose # of n-grams (1 to 3)</a:t>
              </a:r>
            </a:p>
          </p:txBody>
        </p:sp>
        <p:sp>
          <p:nvSpPr>
            <p:cNvPr id="13" name="Rectangle 286"/>
            <p:cNvSpPr txBox="1">
              <a:spLocks noChangeArrowheads="1"/>
            </p:cNvSpPr>
            <p:nvPr/>
          </p:nvSpPr>
          <p:spPr bwMode="auto">
            <a:xfrm>
              <a:off x="3625979" y="5025863"/>
              <a:ext cx="1434393" cy="2707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4. CountVectorizer</a:t>
              </a:r>
              <a:br>
                <a:rPr lang="en-US" sz="1200" b="1" dirty="0"/>
              </a:br>
              <a:r>
                <a:rPr lang="en-US" sz="1200" b="1" dirty="0"/>
                <a:t>to Random Forest</a:t>
              </a:r>
            </a:p>
          </p:txBody>
        </p:sp>
        <p:sp>
          <p:nvSpPr>
            <p:cNvPr id="14" name="Rectangle 286"/>
            <p:cNvSpPr txBox="1">
              <a:spLocks noChangeArrowheads="1"/>
            </p:cNvSpPr>
            <p:nvPr/>
          </p:nvSpPr>
          <p:spPr bwMode="auto">
            <a:xfrm>
              <a:off x="2033978" y="3676750"/>
              <a:ext cx="1186460" cy="2707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5. Cross Validation</a:t>
              </a:r>
            </a:p>
          </p:txBody>
        </p:sp>
        <p:sp>
          <p:nvSpPr>
            <p:cNvPr id="15" name="Rectangle 286"/>
            <p:cNvSpPr txBox="1">
              <a:spLocks noChangeArrowheads="1"/>
            </p:cNvSpPr>
            <p:nvPr/>
          </p:nvSpPr>
          <p:spPr bwMode="auto">
            <a:xfrm>
              <a:off x="2847475" y="1756826"/>
              <a:ext cx="1186460" cy="2707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1. Select/refine  the data (user, wine type, word count)</a:t>
              </a:r>
            </a:p>
          </p:txBody>
        </p:sp>
        <p:sp>
          <p:nvSpPr>
            <p:cNvPr id="16" name="Rectangle 286"/>
            <p:cNvSpPr txBox="1">
              <a:spLocks noChangeArrowheads="1"/>
            </p:cNvSpPr>
            <p:nvPr/>
          </p:nvSpPr>
          <p:spPr bwMode="auto">
            <a:xfrm>
              <a:off x="3558382" y="3232540"/>
              <a:ext cx="1844675" cy="36933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200" b="1" dirty="0"/>
                <a:t>This process was executed multiple times</a:t>
              </a:r>
            </a:p>
          </p:txBody>
        </p:sp>
      </p:grpSp>
      <p:sp>
        <p:nvSpPr>
          <p:cNvPr id="2" name="Title 1"/>
          <p:cNvSpPr>
            <a:spLocks noGrp="1"/>
          </p:cNvSpPr>
          <p:nvPr>
            <p:ph type="title"/>
          </p:nvPr>
        </p:nvSpPr>
        <p:spPr/>
        <p:txBody>
          <a:bodyPr/>
          <a:lstStyle/>
          <a:p>
            <a:r>
              <a:rPr lang="en-US" dirty="0"/>
              <a:t>Natural Language Processing (NLP) on the reviews/tasting notes</a:t>
            </a:r>
          </a:p>
        </p:txBody>
      </p:sp>
      <p:sp>
        <p:nvSpPr>
          <p:cNvPr id="4" name="TextBox 3"/>
          <p:cNvSpPr txBox="1"/>
          <p:nvPr/>
        </p:nvSpPr>
        <p:spPr>
          <a:xfrm>
            <a:off x="293615" y="700844"/>
            <a:ext cx="8443985"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I used the methods we used during class 14 (where we used NLP to predict the “greenness” of websites)</a:t>
            </a:r>
          </a:p>
        </p:txBody>
      </p:sp>
      <p:sp>
        <p:nvSpPr>
          <p:cNvPr id="18" name="TextBox 17"/>
          <p:cNvSpPr txBox="1"/>
          <p:nvPr/>
        </p:nvSpPr>
        <p:spPr>
          <a:xfrm>
            <a:off x="356537" y="2916152"/>
            <a:ext cx="1738793"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19" name="TextBox 18"/>
          <p:cNvSpPr txBox="1"/>
          <p:nvPr/>
        </p:nvSpPr>
        <p:spPr>
          <a:xfrm>
            <a:off x="2888574" y="1118219"/>
            <a:ext cx="2309929"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20" name="TextBox 19"/>
          <p:cNvSpPr txBox="1"/>
          <p:nvPr/>
        </p:nvSpPr>
        <p:spPr>
          <a:xfrm>
            <a:off x="3589802" y="2925665"/>
            <a:ext cx="1751485"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21" name="TextBox 20"/>
          <p:cNvSpPr txBox="1"/>
          <p:nvPr/>
        </p:nvSpPr>
        <p:spPr>
          <a:xfrm>
            <a:off x="1444869" y="4596760"/>
            <a:ext cx="2776357"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29" name="TextBox 28"/>
          <p:cNvSpPr txBox="1"/>
          <p:nvPr/>
        </p:nvSpPr>
        <p:spPr>
          <a:xfrm>
            <a:off x="5827426" y="1433990"/>
            <a:ext cx="2496176" cy="480131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irst round of tests: very low cross validation scores: in the 30% accuracy range</a:t>
            </a:r>
          </a:p>
          <a:p>
            <a:endParaRPr lang="en-US" sz="1200" dirty="0"/>
          </a:p>
          <a:p>
            <a:r>
              <a:rPr lang="en-US" sz="1200" dirty="0"/>
              <a:t>So, I decided to go back and look at my data: I was using all the reviews of all wines: red, white, sparkling, fortified, dessert</a:t>
            </a:r>
          </a:p>
          <a:p>
            <a:endParaRPr lang="en-US" sz="1200" dirty="0">
              <a:sym typeface="Wingdings" panose="05000000000000000000" pitchFamily="2" charset="2"/>
            </a:endParaRPr>
          </a:p>
          <a:p>
            <a:r>
              <a:rPr lang="en-US" sz="1200" dirty="0">
                <a:sym typeface="Wingdings" panose="05000000000000000000" pitchFamily="2" charset="2"/>
              </a:rPr>
              <a:t>I decided to:</a:t>
            </a:r>
          </a:p>
          <a:p>
            <a:endParaRPr lang="en-US" sz="1200" dirty="0">
              <a:sym typeface="Wingdings" panose="05000000000000000000" pitchFamily="2" charset="2"/>
            </a:endParaRPr>
          </a:p>
          <a:p>
            <a:pPr lvl="1"/>
            <a:r>
              <a:rPr lang="en-US" sz="1200" dirty="0">
                <a:sym typeface="Wingdings" panose="05000000000000000000" pitchFamily="2" charset="2"/>
              </a:rPr>
              <a:t>Focus only on one </a:t>
            </a:r>
            <a:r>
              <a:rPr lang="en-US" sz="1200" b="1" dirty="0">
                <a:sym typeface="Wingdings" panose="05000000000000000000" pitchFamily="2" charset="2"/>
              </a:rPr>
              <a:t>wine type</a:t>
            </a:r>
          </a:p>
          <a:p>
            <a:pPr lvl="1"/>
            <a:endParaRPr lang="en-US" sz="1200" dirty="0">
              <a:sym typeface="Wingdings" panose="05000000000000000000" pitchFamily="2" charset="2"/>
            </a:endParaRPr>
          </a:p>
          <a:p>
            <a:pPr lvl="1"/>
            <a:r>
              <a:rPr lang="en-US" sz="1200" dirty="0">
                <a:sym typeface="Wingdings" panose="05000000000000000000" pitchFamily="2" charset="2"/>
              </a:rPr>
              <a:t>Focus on the </a:t>
            </a:r>
            <a:r>
              <a:rPr lang="en-US" sz="1200" b="1" dirty="0">
                <a:sym typeface="Wingdings" panose="05000000000000000000" pitchFamily="2" charset="2"/>
              </a:rPr>
              <a:t>length of the reviews</a:t>
            </a:r>
          </a:p>
          <a:p>
            <a:pPr lvl="2"/>
            <a:r>
              <a:rPr lang="en-US" sz="1200" dirty="0">
                <a:sym typeface="Wingdings" panose="05000000000000000000" pitchFamily="2" charset="2"/>
              </a:rPr>
              <a:t>Average length is 37 words</a:t>
            </a:r>
          </a:p>
          <a:p>
            <a:pPr lvl="1"/>
            <a:endParaRPr lang="en-US" sz="1200" dirty="0">
              <a:sym typeface="Wingdings" panose="05000000000000000000" pitchFamily="2" charset="2"/>
            </a:endParaRPr>
          </a:p>
          <a:p>
            <a:pPr lvl="1"/>
            <a:r>
              <a:rPr lang="en-US" sz="1200" dirty="0">
                <a:sym typeface="Wingdings" panose="05000000000000000000" pitchFamily="2" charset="2"/>
              </a:rPr>
              <a:t>The </a:t>
            </a:r>
            <a:r>
              <a:rPr lang="en-US" sz="1200" b="1" dirty="0">
                <a:sym typeface="Wingdings" panose="05000000000000000000" pitchFamily="2" charset="2"/>
              </a:rPr>
              <a:t>reviewers</a:t>
            </a:r>
            <a:r>
              <a:rPr lang="en-US" sz="1200" dirty="0">
                <a:sym typeface="Wingdings" panose="05000000000000000000" pitchFamily="2" charset="2"/>
              </a:rPr>
              <a:t>: how many reviews have they written (are they “experts”?)</a:t>
            </a:r>
          </a:p>
          <a:p>
            <a:pPr lvl="1"/>
            <a:endParaRPr lang="en-US" sz="1200" dirty="0">
              <a:sym typeface="Wingdings" panose="05000000000000000000" pitchFamily="2" charset="2"/>
            </a:endParaRPr>
          </a:p>
          <a:p>
            <a:pPr lvl="1"/>
            <a:r>
              <a:rPr lang="en-US" sz="1200" dirty="0">
                <a:sym typeface="Wingdings" panose="05000000000000000000" pitchFamily="2" charset="2"/>
              </a:rPr>
              <a:t>Convert the ratings to </a:t>
            </a:r>
            <a:r>
              <a:rPr lang="en-US" sz="1200" b="1" dirty="0">
                <a:sym typeface="Wingdings" panose="05000000000000000000" pitchFamily="2" charset="2"/>
              </a:rPr>
              <a:t>categories</a:t>
            </a:r>
            <a:r>
              <a:rPr lang="en-US" sz="1200" dirty="0">
                <a:sym typeface="Wingdings" panose="05000000000000000000" pitchFamily="2" charset="2"/>
              </a:rPr>
              <a:t>:</a:t>
            </a:r>
          </a:p>
          <a:p>
            <a:pPr lvl="2"/>
            <a:r>
              <a:rPr lang="en-US" sz="1200" dirty="0">
                <a:sym typeface="Wingdings" panose="05000000000000000000" pitchFamily="2" charset="2"/>
              </a:rPr>
              <a:t>Up to 80 pts  OK</a:t>
            </a:r>
          </a:p>
          <a:p>
            <a:pPr lvl="2"/>
            <a:r>
              <a:rPr lang="en-US" sz="1200" dirty="0">
                <a:sym typeface="Wingdings" panose="05000000000000000000" pitchFamily="2" charset="2"/>
              </a:rPr>
              <a:t>81-89 pts  Good</a:t>
            </a:r>
          </a:p>
          <a:p>
            <a:pPr lvl="2"/>
            <a:r>
              <a:rPr lang="en-US" sz="1200" dirty="0">
                <a:sym typeface="Wingdings" panose="05000000000000000000" pitchFamily="2" charset="2"/>
              </a:rPr>
              <a:t>90-95 pts  Very Good</a:t>
            </a:r>
          </a:p>
          <a:p>
            <a:pPr lvl="2"/>
            <a:r>
              <a:rPr lang="en-US" sz="1200" dirty="0">
                <a:sym typeface="Wingdings" panose="05000000000000000000" pitchFamily="2" charset="2"/>
              </a:rPr>
              <a:t>96-100 pts  Collectible</a:t>
            </a:r>
          </a:p>
        </p:txBody>
      </p:sp>
    </p:spTree>
    <p:extLst>
      <p:ext uri="{BB962C8B-B14F-4D97-AF65-F5344CB8AC3E}">
        <p14:creationId xmlns:p14="http://schemas.microsoft.com/office/powerpoint/2010/main" val="1025448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4754" name="AutoShape 2" hidden="1"/>
          <p:cNvGraphicFramePr>
            <a:graphicFrameLocks/>
          </p:cNvGraphicFramePr>
          <p:nvPr>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15" name="think-cell Slide" r:id="rId22" imgW="0" imgH="0" progId="TCLayout.ActiveDocument.1">
                  <p:embed/>
                </p:oleObj>
              </mc:Choice>
              <mc:Fallback>
                <p:oleObj name="think-cell Slide" r:id="rId22" imgW="0" imgH="0" progId="TCLayout.ActiveDocument.1">
                  <p:embed/>
                  <p:pic>
                    <p:nvPicPr>
                      <p:cNvPr id="74754"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3"/>
          <p:cNvSpPr>
            <a:spLocks noGrp="1" noChangeArrowheads="1"/>
          </p:cNvSpPr>
          <p:nvPr>
            <p:ph type="title"/>
            <p:custDataLst>
              <p:tags r:id="rId3"/>
            </p:custDataLst>
          </p:nvPr>
        </p:nvSpPr>
        <p:spPr>
          <a:xfrm>
            <a:off x="119063" y="230188"/>
            <a:ext cx="8618537" cy="615553"/>
          </a:xfrm>
        </p:spPr>
        <p:txBody>
          <a:bodyPr/>
          <a:lstStyle/>
          <a:p>
            <a:pPr eaLnBrk="1" hangingPunct="1"/>
            <a:r>
              <a:rPr lang="en-US" dirty="0"/>
              <a:t>Feature &amp; strategy adjustments</a:t>
            </a:r>
            <a:br>
              <a:rPr lang="en-US" dirty="0"/>
            </a:br>
            <a:endParaRPr lang="en-US" dirty="0"/>
          </a:p>
        </p:txBody>
      </p:sp>
      <p:grpSp>
        <p:nvGrpSpPr>
          <p:cNvPr id="23" name="Flow 19"/>
          <p:cNvGrpSpPr/>
          <p:nvPr>
            <p:custDataLst>
              <p:tags r:id="rId4"/>
            </p:custDataLst>
          </p:nvPr>
        </p:nvGrpSpPr>
        <p:grpSpPr>
          <a:xfrm>
            <a:off x="2534097" y="885354"/>
            <a:ext cx="1976408" cy="914401"/>
            <a:chOff x="2534097" y="885354"/>
            <a:chExt cx="1976408" cy="914401"/>
          </a:xfrm>
          <a:solidFill>
            <a:schemeClr val="tx2">
              <a:lumMod val="25000"/>
              <a:lumOff val="75000"/>
            </a:schemeClr>
          </a:solidFill>
        </p:grpSpPr>
        <p:sp>
          <p:nvSpPr>
            <p:cNvPr id="24" name="Freeform 23"/>
            <p:cNvSpPr/>
            <p:nvPr>
              <p:custDataLst>
                <p:tags r:id="rId18"/>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grpFill/>
            <a:ln w="9525">
              <a:solidFill>
                <a:schemeClr val="accent6"/>
              </a:solidFill>
              <a:round/>
              <a:headEnd/>
              <a:tailEnd/>
            </a:ln>
          </p:spPr>
          <p:txBody>
            <a:bodyPr wrap="none" rtlCol="0" anchor="ctr"/>
            <a:lstStyle/>
            <a:p>
              <a:pPr algn="ctr"/>
              <a:endParaRPr lang="en-US" b="1" dirty="0"/>
            </a:p>
          </p:txBody>
        </p:sp>
        <p:sp>
          <p:nvSpPr>
            <p:cNvPr id="25" name="TextBox 4"/>
            <p:cNvSpPr txBox="1">
              <a:spLocks noChangeArrowheads="1"/>
            </p:cNvSpPr>
            <p:nvPr>
              <p:custDataLst>
                <p:tags r:id="rId19"/>
              </p:custDataLst>
            </p:nvPr>
          </p:nvSpPr>
          <p:spPr bwMode="auto">
            <a:xfrm>
              <a:off x="2749489" y="1095781"/>
              <a:ext cx="1596424"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t>Adjust Wine Type</a:t>
              </a:r>
            </a:p>
          </p:txBody>
        </p:sp>
      </p:grpSp>
      <p:grpSp>
        <p:nvGrpSpPr>
          <p:cNvPr id="26" name="Flow 73"/>
          <p:cNvGrpSpPr/>
          <p:nvPr>
            <p:custDataLst>
              <p:tags r:id="rId5"/>
            </p:custDataLst>
          </p:nvPr>
        </p:nvGrpSpPr>
        <p:grpSpPr>
          <a:xfrm>
            <a:off x="722037" y="885354"/>
            <a:ext cx="1976408" cy="914401"/>
            <a:chOff x="722037" y="885354"/>
            <a:chExt cx="1976408" cy="914401"/>
          </a:xfrm>
          <a:solidFill>
            <a:schemeClr val="tx2">
              <a:lumMod val="25000"/>
              <a:lumOff val="75000"/>
            </a:schemeClr>
          </a:solidFill>
        </p:grpSpPr>
        <p:sp>
          <p:nvSpPr>
            <p:cNvPr id="27" name="Freeform 26"/>
            <p:cNvSpPr/>
            <p:nvPr>
              <p:custDataLst>
                <p:tags r:id="rId16"/>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grpFill/>
            <a:ln w="9525">
              <a:solidFill>
                <a:schemeClr val="accent6"/>
              </a:solidFill>
              <a:round/>
              <a:headEnd/>
              <a:tailEnd/>
            </a:ln>
          </p:spPr>
          <p:txBody>
            <a:bodyPr wrap="none" rtlCol="0" anchor="ctr"/>
            <a:lstStyle/>
            <a:p>
              <a:pPr algn="ctr"/>
              <a:endParaRPr lang="en-US" b="1" dirty="0"/>
            </a:p>
          </p:txBody>
        </p:sp>
        <p:sp>
          <p:nvSpPr>
            <p:cNvPr id="28" name="TextBox 4"/>
            <p:cNvSpPr txBox="1">
              <a:spLocks noChangeArrowheads="1"/>
            </p:cNvSpPr>
            <p:nvPr>
              <p:custDataLst>
                <p:tags r:id="rId17"/>
              </p:custDataLst>
            </p:nvPr>
          </p:nvSpPr>
          <p:spPr bwMode="auto">
            <a:xfrm>
              <a:off x="772837" y="1096332"/>
              <a:ext cx="1761016"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t>Adjust Review Length</a:t>
              </a:r>
            </a:p>
          </p:txBody>
        </p:sp>
      </p:grpSp>
      <p:grpSp>
        <p:nvGrpSpPr>
          <p:cNvPr id="29" name="Flow 94"/>
          <p:cNvGrpSpPr/>
          <p:nvPr>
            <p:custDataLst>
              <p:tags r:id="rId6"/>
            </p:custDataLst>
          </p:nvPr>
        </p:nvGrpSpPr>
        <p:grpSpPr>
          <a:xfrm>
            <a:off x="4346157" y="885354"/>
            <a:ext cx="1976408" cy="914401"/>
            <a:chOff x="4346157" y="885354"/>
            <a:chExt cx="1976408" cy="914401"/>
          </a:xfrm>
          <a:solidFill>
            <a:schemeClr val="tx2">
              <a:lumMod val="25000"/>
              <a:lumOff val="75000"/>
            </a:schemeClr>
          </a:solidFill>
        </p:grpSpPr>
        <p:sp>
          <p:nvSpPr>
            <p:cNvPr id="30" name="Freeform 29"/>
            <p:cNvSpPr/>
            <p:nvPr>
              <p:custDataLst>
                <p:tags r:id="rId14"/>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grpFill/>
            <a:ln w="9525">
              <a:solidFill>
                <a:schemeClr val="accent6"/>
              </a:solidFill>
              <a:round/>
              <a:headEnd/>
              <a:tailEnd/>
            </a:ln>
          </p:spPr>
          <p:txBody>
            <a:bodyPr wrap="none" rtlCol="0" anchor="ctr"/>
            <a:lstStyle/>
            <a:p>
              <a:pPr algn="ctr"/>
              <a:endParaRPr lang="en-US" b="1" dirty="0"/>
            </a:p>
          </p:txBody>
        </p:sp>
        <p:sp>
          <p:nvSpPr>
            <p:cNvPr id="31" name="TextBox 4"/>
            <p:cNvSpPr txBox="1">
              <a:spLocks noChangeArrowheads="1"/>
            </p:cNvSpPr>
            <p:nvPr>
              <p:custDataLst>
                <p:tags r:id="rId15"/>
              </p:custDataLst>
            </p:nvPr>
          </p:nvSpPr>
          <p:spPr bwMode="auto">
            <a:xfrm>
              <a:off x="4561549" y="1095780"/>
              <a:ext cx="1596424"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t>Adjust Review Length (again)</a:t>
              </a:r>
            </a:p>
          </p:txBody>
        </p:sp>
      </p:grpSp>
      <p:grpSp>
        <p:nvGrpSpPr>
          <p:cNvPr id="32" name="Flow 25"/>
          <p:cNvGrpSpPr/>
          <p:nvPr>
            <p:custDataLst>
              <p:tags r:id="rId7"/>
            </p:custDataLst>
          </p:nvPr>
        </p:nvGrpSpPr>
        <p:grpSpPr>
          <a:xfrm>
            <a:off x="6158217" y="885354"/>
            <a:ext cx="1976408" cy="914401"/>
            <a:chOff x="6158217" y="885354"/>
            <a:chExt cx="1976408" cy="914401"/>
          </a:xfrm>
          <a:solidFill>
            <a:schemeClr val="tx2">
              <a:lumMod val="25000"/>
              <a:lumOff val="75000"/>
            </a:schemeClr>
          </a:solidFill>
        </p:grpSpPr>
        <p:sp>
          <p:nvSpPr>
            <p:cNvPr id="33" name="Freeform 32"/>
            <p:cNvSpPr/>
            <p:nvPr>
              <p:custDataLst>
                <p:tags r:id="rId12"/>
              </p:custDataLst>
            </p:nvPr>
          </p:nvSpPr>
          <p:spPr bwMode="auto">
            <a:xfrm>
              <a:off x="615821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grpFill/>
            <a:ln w="9525">
              <a:solidFill>
                <a:schemeClr val="accent6"/>
              </a:solidFill>
              <a:round/>
              <a:headEnd/>
              <a:tailEnd/>
            </a:ln>
          </p:spPr>
          <p:txBody>
            <a:bodyPr wrap="none" rtlCol="0" anchor="ctr"/>
            <a:lstStyle/>
            <a:p>
              <a:pPr algn="ctr"/>
              <a:endParaRPr lang="en-US" b="1" dirty="0"/>
            </a:p>
          </p:txBody>
        </p:sp>
        <p:sp>
          <p:nvSpPr>
            <p:cNvPr id="34" name="TextBox 4"/>
            <p:cNvSpPr txBox="1">
              <a:spLocks noChangeArrowheads="1"/>
            </p:cNvSpPr>
            <p:nvPr>
              <p:custDataLst>
                <p:tags r:id="rId13"/>
              </p:custDataLst>
            </p:nvPr>
          </p:nvSpPr>
          <p:spPr bwMode="auto">
            <a:xfrm>
              <a:off x="6373609" y="1095229"/>
              <a:ext cx="1596424"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t>Adjust Review Length</a:t>
              </a:r>
            </a:p>
          </p:txBody>
        </p:sp>
      </p:grpSp>
      <p:sp>
        <p:nvSpPr>
          <p:cNvPr id="35" name="Rectangle 286"/>
          <p:cNvSpPr txBox="1">
            <a:spLocks noChangeArrowheads="1"/>
          </p:cNvSpPr>
          <p:nvPr>
            <p:custDataLst>
              <p:tags r:id="rId8"/>
            </p:custDataLst>
          </p:nvPr>
        </p:nvSpPr>
        <p:spPr bwMode="auto">
          <a:xfrm>
            <a:off x="772837" y="1911606"/>
            <a:ext cx="1729116" cy="3447098"/>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a:t>Limited to reviews that were longer than 20 words</a:t>
            </a:r>
          </a:p>
          <a:p>
            <a:endParaRPr lang="en-US" dirty="0"/>
          </a:p>
          <a:p>
            <a:r>
              <a:rPr lang="en-US" b="1" dirty="0"/>
              <a:t>Thinking</a:t>
            </a:r>
            <a:r>
              <a:rPr lang="en-US" dirty="0"/>
              <a:t>: lengthier reviews take more effort to describe the wine accurately</a:t>
            </a:r>
          </a:p>
          <a:p>
            <a:endParaRPr lang="en-US" dirty="0"/>
          </a:p>
          <a:p>
            <a:r>
              <a:rPr lang="en-US" dirty="0">
                <a:solidFill>
                  <a:srgbClr val="FF0000"/>
                </a:solidFill>
              </a:rPr>
              <a:t>Result</a:t>
            </a:r>
            <a:r>
              <a:rPr lang="en-US" dirty="0"/>
              <a:t>: no improvement in the cross-validation scores</a:t>
            </a:r>
          </a:p>
        </p:txBody>
      </p:sp>
      <p:sp>
        <p:nvSpPr>
          <p:cNvPr id="36" name="Rectangle 286"/>
          <p:cNvSpPr txBox="1">
            <a:spLocks noChangeArrowheads="1"/>
          </p:cNvSpPr>
          <p:nvPr>
            <p:custDataLst>
              <p:tags r:id="rId9"/>
            </p:custDataLst>
          </p:nvPr>
        </p:nvSpPr>
        <p:spPr bwMode="auto">
          <a:xfrm>
            <a:off x="2749489" y="1911606"/>
            <a:ext cx="1596668" cy="3447098"/>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a:t>Limited wines to Cabernet Sauvignon only.</a:t>
            </a:r>
          </a:p>
          <a:p>
            <a:endParaRPr lang="en-US" dirty="0"/>
          </a:p>
          <a:p>
            <a:r>
              <a:rPr lang="en-US" b="1" dirty="0"/>
              <a:t>Thinking</a:t>
            </a:r>
            <a:r>
              <a:rPr lang="en-US" dirty="0"/>
              <a:t>: Red wines and white wines are reviewed using very different vocabulary</a:t>
            </a:r>
          </a:p>
          <a:p>
            <a:endParaRPr lang="en-US" dirty="0"/>
          </a:p>
          <a:p>
            <a:r>
              <a:rPr lang="en-US" dirty="0">
                <a:solidFill>
                  <a:srgbClr val="00B050"/>
                </a:solidFill>
              </a:rPr>
              <a:t>Result</a:t>
            </a:r>
            <a:r>
              <a:rPr lang="en-US" dirty="0"/>
              <a:t>: Increase in cross-validation scores</a:t>
            </a:r>
          </a:p>
        </p:txBody>
      </p:sp>
      <p:sp>
        <p:nvSpPr>
          <p:cNvPr id="37" name="Rectangle 286"/>
          <p:cNvSpPr txBox="1">
            <a:spLocks noChangeArrowheads="1"/>
          </p:cNvSpPr>
          <p:nvPr>
            <p:custDataLst>
              <p:tags r:id="rId10"/>
            </p:custDataLst>
          </p:nvPr>
        </p:nvSpPr>
        <p:spPr bwMode="auto">
          <a:xfrm>
            <a:off x="4561549" y="1911606"/>
            <a:ext cx="1596667" cy="3447098"/>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a:t>Limited reviews to those that were under 40 words</a:t>
            </a:r>
          </a:p>
          <a:p>
            <a:endParaRPr lang="en-US" dirty="0"/>
          </a:p>
          <a:p>
            <a:r>
              <a:rPr lang="en-US" dirty="0"/>
              <a:t>Thinking: shorter reviews tend to use smaller set of words</a:t>
            </a:r>
          </a:p>
          <a:p>
            <a:endParaRPr lang="en-US" dirty="0"/>
          </a:p>
          <a:p>
            <a:r>
              <a:rPr lang="en-US" dirty="0">
                <a:solidFill>
                  <a:srgbClr val="00B050"/>
                </a:solidFill>
              </a:rPr>
              <a:t>Result</a:t>
            </a:r>
            <a:r>
              <a:rPr lang="en-US" dirty="0"/>
              <a:t>: Increase in cross-validation scores</a:t>
            </a:r>
          </a:p>
          <a:p>
            <a:endParaRPr lang="en-US" dirty="0"/>
          </a:p>
        </p:txBody>
      </p:sp>
      <p:sp>
        <p:nvSpPr>
          <p:cNvPr id="38" name="Rectangle 286"/>
          <p:cNvSpPr txBox="1">
            <a:spLocks noChangeArrowheads="1"/>
          </p:cNvSpPr>
          <p:nvPr>
            <p:custDataLst>
              <p:tags r:id="rId11"/>
            </p:custDataLst>
          </p:nvPr>
        </p:nvSpPr>
        <p:spPr bwMode="auto">
          <a:xfrm>
            <a:off x="6373609" y="1911606"/>
            <a:ext cx="1596424" cy="4678204"/>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a:t>Limited the reviewers</a:t>
            </a:r>
          </a:p>
          <a:p>
            <a:endParaRPr lang="en-US" dirty="0"/>
          </a:p>
          <a:p>
            <a:r>
              <a:rPr lang="en-US" b="1" dirty="0"/>
              <a:t>Thinking</a:t>
            </a:r>
            <a:r>
              <a:rPr lang="en-US" dirty="0"/>
              <a:t>: I will get more consistent vocabulary</a:t>
            </a:r>
          </a:p>
          <a:p>
            <a:endParaRPr lang="en-US" dirty="0"/>
          </a:p>
          <a:p>
            <a:r>
              <a:rPr lang="en-US" dirty="0"/>
              <a:t>Found a user with 30,000 reviews! So I decided to use only one person’s tasting notes</a:t>
            </a:r>
          </a:p>
          <a:p>
            <a:endParaRPr lang="en-US" dirty="0"/>
          </a:p>
          <a:p>
            <a:r>
              <a:rPr lang="en-US" dirty="0">
                <a:solidFill>
                  <a:srgbClr val="00B050"/>
                </a:solidFill>
              </a:rPr>
              <a:t>Bull’s eye</a:t>
            </a:r>
            <a:r>
              <a:rPr lang="en-US" dirty="0"/>
              <a:t>: 80% cross-validation score</a:t>
            </a:r>
          </a:p>
          <a:p>
            <a:r>
              <a:rPr lang="en-US" dirty="0"/>
              <a:t> </a:t>
            </a:r>
          </a:p>
        </p:txBody>
      </p:sp>
    </p:spTree>
    <p:custDataLst>
      <p:tags r:id="rId2"/>
    </p:custDataLst>
    <p:extLst>
      <p:ext uri="{BB962C8B-B14F-4D97-AF65-F5344CB8AC3E}">
        <p14:creationId xmlns:p14="http://schemas.microsoft.com/office/powerpoint/2010/main" val="3556435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14528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16" name="think-cell Slide" r:id="rId10" imgW="353" imgH="353" progId="TCLayout.ActiveDocument.1">
                  <p:embed/>
                </p:oleObj>
              </mc:Choice>
              <mc:Fallback>
                <p:oleObj name="think-cell Slide" r:id="rId10" imgW="353" imgH="353" progId="TCLayout.ActiveDocument.1">
                  <p:embed/>
                  <p:pic>
                    <p:nvPicPr>
                      <p:cNvPr id="5" name="Object 4"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p:txBody>
          <a:bodyPr/>
          <a:lstStyle/>
          <a:p>
            <a:r>
              <a:rPr lang="en-US" dirty="0"/>
              <a:t>Contents</a:t>
            </a:r>
          </a:p>
        </p:txBody>
      </p:sp>
      <p:sp>
        <p:nvSpPr>
          <p:cNvPr id="7" name="Text Placeholder 2"/>
          <p:cNvSpPr>
            <a:spLocks noGrp="1"/>
          </p:cNvSpPr>
          <p:nvPr>
            <p:custDataLst>
              <p:tags r:id="rId4"/>
            </p:custDataLst>
          </p:nvPr>
        </p:nvSpPr>
        <p:spPr bwMode="black">
          <a:xfrm>
            <a:off x="125404" y="19383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Background</a:t>
            </a:r>
          </a:p>
        </p:txBody>
      </p:sp>
      <p:sp>
        <p:nvSpPr>
          <p:cNvPr id="14" name="Text Placeholder 2"/>
          <p:cNvSpPr>
            <a:spLocks noGrp="1"/>
          </p:cNvSpPr>
          <p:nvPr>
            <p:custDataLst>
              <p:tags r:id="rId5"/>
            </p:custDataLst>
          </p:nvPr>
        </p:nvSpPr>
        <p:spPr bwMode="black">
          <a:xfrm>
            <a:off x="125410" y="26495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set</a:t>
            </a:r>
          </a:p>
        </p:txBody>
      </p:sp>
      <p:sp>
        <p:nvSpPr>
          <p:cNvPr id="19" name="Text Placeholder 2"/>
          <p:cNvSpPr>
            <a:spLocks noGrp="1"/>
          </p:cNvSpPr>
          <p:nvPr>
            <p:custDataLst>
              <p:tags r:id="rId6"/>
            </p:custDataLst>
          </p:nvPr>
        </p:nvSpPr>
        <p:spPr bwMode="black">
          <a:xfrm>
            <a:off x="125413" y="33607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 model</a:t>
            </a:r>
          </a:p>
        </p:txBody>
      </p:sp>
      <p:sp>
        <p:nvSpPr>
          <p:cNvPr id="12" name="Text Placeholder 2"/>
          <p:cNvSpPr>
            <a:spLocks noGrp="1"/>
          </p:cNvSpPr>
          <p:nvPr>
            <p:custDataLst>
              <p:tags r:id="rId7"/>
            </p:custDataLst>
          </p:nvPr>
        </p:nvSpPr>
        <p:spPr bwMode="black">
          <a:xfrm>
            <a:off x="125413" y="4071938"/>
            <a:ext cx="2198688"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Conclusion</a:t>
            </a:r>
          </a:p>
        </p:txBody>
      </p:sp>
    </p:spTree>
    <p:extLst>
      <p:ext uri="{BB962C8B-B14F-4D97-AF65-F5344CB8AC3E}">
        <p14:creationId xmlns:p14="http://schemas.microsoft.com/office/powerpoint/2010/main" val="38860223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5" name="TextBox 4"/>
          <p:cNvSpPr txBox="1"/>
          <p:nvPr/>
        </p:nvSpPr>
        <p:spPr>
          <a:xfrm>
            <a:off x="119063" y="909866"/>
            <a:ext cx="8322808" cy="258532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We are able to predict the category rating of a wine when we have consistency in the source of the reviews and in the types of wines.  For example, all reviews of Cabernet Sauvignon from “user 70”. </a:t>
            </a:r>
          </a:p>
          <a:p>
            <a:pPr lvl="1"/>
            <a:endParaRPr lang="en-US" dirty="0"/>
          </a:p>
          <a:p>
            <a:pPr lvl="1"/>
            <a:r>
              <a:rPr lang="en-US" dirty="0"/>
              <a:t>The next steps in such a study would be:</a:t>
            </a:r>
          </a:p>
          <a:p>
            <a:pPr lvl="2"/>
            <a:r>
              <a:rPr lang="en-US" dirty="0"/>
              <a:t>to use higher processing power to expand the user base (i.e. use 2-10 users, or of a single publication)</a:t>
            </a:r>
          </a:p>
          <a:p>
            <a:pPr lvl="2"/>
            <a:r>
              <a:rPr lang="en-US" dirty="0"/>
              <a:t>Expand the wine type (i.e. all West Coast reds)</a:t>
            </a:r>
          </a:p>
          <a:p>
            <a:pPr lvl="2"/>
            <a:r>
              <a:rPr lang="en-US" dirty="0"/>
              <a:t>Examine the evolution of reviewers (for example only use the reviews of a writer after they have written 100 reviews, say)</a:t>
            </a:r>
          </a:p>
          <a:p>
            <a:pPr lvl="2"/>
            <a:endParaRPr lang="en-US" dirty="0"/>
          </a:p>
          <a:p>
            <a:pPr lvl="1"/>
            <a:r>
              <a:rPr lang="en-US" dirty="0"/>
              <a:t>Considering that taste is a highly subjective matter it is a big challenge to convert qualitative features to a quantitative value such as a 0-100 rating.</a:t>
            </a:r>
          </a:p>
        </p:txBody>
      </p:sp>
    </p:spTree>
    <p:extLst>
      <p:ext uri="{BB962C8B-B14F-4D97-AF65-F5344CB8AC3E}">
        <p14:creationId xmlns:p14="http://schemas.microsoft.com/office/powerpoint/2010/main" val="380968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5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098" name="Title1"/>
          <p:cNvSpPr>
            <a:spLocks noGrp="1" noChangeArrowheads="1"/>
          </p:cNvSpPr>
          <p:nvPr>
            <p:ph type="title"/>
          </p:nvPr>
        </p:nvSpPr>
        <p:spPr bwMode="gray">
          <a:prstGeom prst="rect">
            <a:avLst/>
          </a:prstGeom>
        </p:spPr>
        <p:txBody>
          <a:bodyPr/>
          <a:lstStyle/>
          <a:p>
            <a:pPr eaLnBrk="1" hangingPunct="1"/>
            <a:r>
              <a:rPr lang="en-US" dirty="0"/>
              <a:t>Executive summary</a:t>
            </a:r>
          </a:p>
        </p:txBody>
      </p:sp>
      <p:sp>
        <p:nvSpPr>
          <p:cNvPr id="5" name="Rectangle 3"/>
          <p:cNvSpPr txBox="1">
            <a:spLocks/>
          </p:cNvSpPr>
          <p:nvPr/>
        </p:nvSpPr>
        <p:spPr bwMode="gray">
          <a:xfrm>
            <a:off x="945134" y="1171194"/>
            <a:ext cx="7071106" cy="5163512"/>
          </a:xfrm>
          <a:prstGeom prst="rect">
            <a:avLst/>
          </a:prstGeom>
          <a:noFill/>
          <a:ln w="28575">
            <a:noFill/>
            <a:miter lim="800000"/>
          </a:ln>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840"/>
              </a:spcAft>
            </a:pPr>
            <a:r>
              <a:rPr lang="en-US" sz="1400" dirty="0"/>
              <a:t>The hypothesis is that we can use the text of the wine reviews, feed it to a Natural Language Processing algorithm model to predict the rating of the wine. </a:t>
            </a:r>
          </a:p>
          <a:p>
            <a:pPr>
              <a:spcAft>
                <a:spcPts val="840"/>
              </a:spcAft>
            </a:pPr>
            <a:r>
              <a:rPr lang="en-US" sz="1400" dirty="0"/>
              <a:t>I worked with a dataset from the online wine cellar management database </a:t>
            </a:r>
            <a:r>
              <a:rPr lang="en-US" sz="1400" i="1" dirty="0"/>
              <a:t>cellartracker.com</a:t>
            </a:r>
            <a:r>
              <a:rPr lang="en-US" sz="1400" dirty="0"/>
              <a:t>.</a:t>
            </a:r>
          </a:p>
          <a:p>
            <a:pPr>
              <a:spcAft>
                <a:spcPts val="840"/>
              </a:spcAft>
            </a:pPr>
            <a:endParaRPr lang="en-US" sz="1400" dirty="0"/>
          </a:p>
          <a:p>
            <a:pPr lvl="1">
              <a:spcAft>
                <a:spcPts val="840"/>
              </a:spcAft>
            </a:pPr>
            <a:r>
              <a:rPr lang="en-US" sz="1400" b="1" dirty="0"/>
              <a:t>Review/tasting language and ratings/categories. </a:t>
            </a:r>
            <a:r>
              <a:rPr lang="en-US" sz="1400" dirty="0"/>
              <a:t>I looked at the relation between the text of the user reviews and the rating they gave to their wines. When using the tasting notes from all the wine types </a:t>
            </a:r>
          </a:p>
          <a:p>
            <a:pPr lvl="1">
              <a:spcAft>
                <a:spcPts val="840"/>
              </a:spcAft>
            </a:pPr>
            <a:r>
              <a:rPr lang="en-US" sz="1400" b="1" dirty="0"/>
              <a:t>Wine type.</a:t>
            </a:r>
            <a:r>
              <a:rPr lang="en-US" sz="1400" dirty="0"/>
              <a:t> Adjusting the focus of the study to wines of the same type (color, grape, region) increases the cross-validation score</a:t>
            </a:r>
          </a:p>
          <a:p>
            <a:pPr lvl="1">
              <a:spcAft>
                <a:spcPts val="840"/>
              </a:spcAft>
            </a:pPr>
            <a:r>
              <a:rPr lang="en-US" sz="1400" b="1" dirty="0"/>
              <a:t>Reviewer.</a:t>
            </a:r>
            <a:r>
              <a:rPr lang="en-US" sz="1400" dirty="0"/>
              <a:t> Adjusting the focus to a few (or even just one) reviewers increases the cross-validation scores</a:t>
            </a:r>
          </a:p>
          <a:p>
            <a:pPr lvl="1">
              <a:spcAft>
                <a:spcPts val="840"/>
              </a:spcAft>
            </a:pPr>
            <a:r>
              <a:rPr lang="en-US" sz="1400" b="1" dirty="0"/>
              <a:t>Results and next steps.</a:t>
            </a:r>
            <a:r>
              <a:rPr lang="en-US" sz="1400" dirty="0"/>
              <a:t> The cross-validation scores reached 80%. The test set had a success of 84%</a:t>
            </a:r>
          </a:p>
        </p:txBody>
      </p:sp>
    </p:spTree>
    <p:extLst>
      <p:ext uri="{BB962C8B-B14F-4D97-AF65-F5344CB8AC3E}">
        <p14:creationId xmlns:p14="http://schemas.microsoft.com/office/powerpoint/2010/main" val="1006496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47507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86" name="think-cell Slide" r:id="rId10" imgW="353" imgH="353" progId="TCLayout.ActiveDocument.1">
                  <p:embed/>
                </p:oleObj>
              </mc:Choice>
              <mc:Fallback>
                <p:oleObj name="think-cell Slide" r:id="rId10" imgW="353" imgH="353"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p:txBody>
          <a:bodyPr/>
          <a:lstStyle/>
          <a:p>
            <a:r>
              <a:rPr lang="en-US" dirty="0"/>
              <a:t>Contents</a:t>
            </a:r>
          </a:p>
        </p:txBody>
      </p:sp>
      <p:sp>
        <p:nvSpPr>
          <p:cNvPr id="7" name="Text Placeholder 2"/>
          <p:cNvSpPr>
            <a:spLocks noGrp="1"/>
          </p:cNvSpPr>
          <p:nvPr>
            <p:custDataLst>
              <p:tags r:id="rId4"/>
            </p:custDataLst>
          </p:nvPr>
        </p:nvSpPr>
        <p:spPr bwMode="black">
          <a:xfrm>
            <a:off x="125404" y="1938338"/>
            <a:ext cx="2198688"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Background</a:t>
            </a:r>
          </a:p>
        </p:txBody>
      </p:sp>
      <p:sp>
        <p:nvSpPr>
          <p:cNvPr id="16" name="Text Placeholder 2"/>
          <p:cNvSpPr>
            <a:spLocks noGrp="1"/>
          </p:cNvSpPr>
          <p:nvPr>
            <p:custDataLst>
              <p:tags r:id="rId5"/>
            </p:custDataLst>
          </p:nvPr>
        </p:nvSpPr>
        <p:spPr bwMode="black">
          <a:xfrm>
            <a:off x="125410" y="26495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set</a:t>
            </a:r>
          </a:p>
        </p:txBody>
      </p:sp>
      <p:sp>
        <p:nvSpPr>
          <p:cNvPr id="11" name="Text Placeholder 2"/>
          <p:cNvSpPr>
            <a:spLocks noGrp="1"/>
          </p:cNvSpPr>
          <p:nvPr>
            <p:custDataLst>
              <p:tags r:id="rId6"/>
            </p:custDataLst>
          </p:nvPr>
        </p:nvSpPr>
        <p:spPr bwMode="black">
          <a:xfrm>
            <a:off x="125413" y="33607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 model</a:t>
            </a:r>
          </a:p>
        </p:txBody>
      </p:sp>
      <p:sp>
        <p:nvSpPr>
          <p:cNvPr id="13" name="Text Placeholder 2"/>
          <p:cNvSpPr>
            <a:spLocks noGrp="1"/>
          </p:cNvSpPr>
          <p:nvPr>
            <p:custDataLst>
              <p:tags r:id="rId7"/>
            </p:custDataLst>
          </p:nvPr>
        </p:nvSpPr>
        <p:spPr bwMode="black">
          <a:xfrm>
            <a:off x="125413" y="40719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Conclusion</a:t>
            </a:r>
          </a:p>
        </p:txBody>
      </p:sp>
    </p:spTree>
    <p:extLst>
      <p:ext uri="{BB962C8B-B14F-4D97-AF65-F5344CB8AC3E}">
        <p14:creationId xmlns:p14="http://schemas.microsoft.com/office/powerpoint/2010/main" val="2969639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11251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4"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9909" y="824440"/>
            <a:ext cx="2544074" cy="2212238"/>
          </a:xfrm>
          <a:prstGeom prst="rect">
            <a:avLst/>
          </a:prstGeom>
        </p:spPr>
      </p:pic>
      <p:sp>
        <p:nvSpPr>
          <p:cNvPr id="2" name="Title 1"/>
          <p:cNvSpPr>
            <a:spLocks noGrp="1"/>
          </p:cNvSpPr>
          <p:nvPr>
            <p:ph type="title"/>
          </p:nvPr>
        </p:nvSpPr>
        <p:spPr bwMode="gray"/>
        <p:txBody>
          <a:bodyPr/>
          <a:lstStyle/>
          <a:p>
            <a:r>
              <a:rPr lang="en-US" dirty="0"/>
              <a:t>Background</a:t>
            </a:r>
          </a:p>
        </p:txBody>
      </p:sp>
      <p:sp>
        <p:nvSpPr>
          <p:cNvPr id="5"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mn-lt"/>
              </a:rPr>
              <a:t>SOURCE: Source</a:t>
            </a:r>
          </a:p>
        </p:txBody>
      </p:sp>
      <p:sp>
        <p:nvSpPr>
          <p:cNvPr id="6" name="TextBox 5"/>
          <p:cNvSpPr txBox="1"/>
          <p:nvPr/>
        </p:nvSpPr>
        <p:spPr bwMode="gray">
          <a:xfrm>
            <a:off x="219908" y="757411"/>
            <a:ext cx="8517691" cy="64633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a:t>The web has created a huge wine market with an ever-growing collection of blogs, professional critics, magazines and other electronic publications. The American wine critic Robert Parker introduced the 100-point rating scale in the 1970s and most publications and critics nowadays use this scale to rate wines</a:t>
            </a:r>
          </a:p>
        </p:txBody>
      </p:sp>
      <p:sp>
        <p:nvSpPr>
          <p:cNvPr id="8"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Unit of measure</a:t>
            </a: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9909" y="2373045"/>
            <a:ext cx="2880360" cy="12649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9063" y="3830315"/>
            <a:ext cx="2752725" cy="733425"/>
          </a:xfrm>
          <a:prstGeom prst="rect">
            <a:avLst/>
          </a:prstGeom>
        </p:spPr>
      </p:pic>
      <p:pic>
        <p:nvPicPr>
          <p:cNvPr id="10" name="Picture 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24699" y="4653977"/>
            <a:ext cx="6491692" cy="1963588"/>
          </a:xfrm>
          <a:prstGeom prst="rect">
            <a:avLst/>
          </a:prstGeom>
        </p:spPr>
      </p:pic>
      <p:sp>
        <p:nvSpPr>
          <p:cNvPr id="11" name="TextBox 10"/>
          <p:cNvSpPr txBox="1"/>
          <p:nvPr/>
        </p:nvSpPr>
        <p:spPr>
          <a:xfrm>
            <a:off x="3599728" y="1676377"/>
            <a:ext cx="4302125" cy="86177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High quality wines bring high ratings from the well-known and trusted publications which results in higher demand for the wines, as well as increased prices in the wine market.</a:t>
            </a:r>
          </a:p>
        </p:txBody>
      </p:sp>
      <p:sp>
        <p:nvSpPr>
          <p:cNvPr id="12" name="TextBox 11"/>
          <p:cNvSpPr txBox="1"/>
          <p:nvPr/>
        </p:nvSpPr>
        <p:spPr>
          <a:xfrm>
            <a:off x="3603626" y="2779670"/>
            <a:ext cx="4302125" cy="64633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Many of the publications such as Wine Spectator and the Wine Advocate only reveal the point values to paid subscribers. </a:t>
            </a:r>
          </a:p>
        </p:txBody>
      </p:sp>
      <p:sp>
        <p:nvSpPr>
          <p:cNvPr id="13" name="TextBox 12"/>
          <p:cNvSpPr txBox="1"/>
          <p:nvPr/>
        </p:nvSpPr>
        <p:spPr>
          <a:xfrm>
            <a:off x="3599727" y="3634883"/>
            <a:ext cx="4302125" cy="1077218"/>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t>What if we could predict the ratings of wines?</a:t>
            </a:r>
          </a:p>
          <a:p>
            <a:r>
              <a:rPr lang="en-US" b="1" dirty="0">
                <a:sym typeface="Wingdings" panose="05000000000000000000" pitchFamily="2" charset="2"/>
              </a:rPr>
              <a:t>   enjoy better wine for less $ (for those who enjoy drinking it)</a:t>
            </a:r>
          </a:p>
          <a:p>
            <a:r>
              <a:rPr lang="en-US" b="1" dirty="0">
                <a:sym typeface="Wingdings" panose="05000000000000000000" pitchFamily="2" charset="2"/>
              </a:rPr>
              <a:t>   better investment (for those who collect)</a:t>
            </a:r>
          </a:p>
          <a:p>
            <a:r>
              <a:rPr lang="en-US" b="1" dirty="0"/>
              <a:t> </a:t>
            </a:r>
          </a:p>
        </p:txBody>
      </p:sp>
    </p:spTree>
    <p:extLst>
      <p:ext uri="{BB962C8B-B14F-4D97-AF65-F5344CB8AC3E}">
        <p14:creationId xmlns:p14="http://schemas.microsoft.com/office/powerpoint/2010/main" val="1255669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99860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10" name="think-cell Slide" r:id="rId10" imgW="353" imgH="353" progId="TCLayout.ActiveDocument.1">
                  <p:embed/>
                </p:oleObj>
              </mc:Choice>
              <mc:Fallback>
                <p:oleObj name="think-cell Slide" r:id="rId10" imgW="353" imgH="353"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p:txBody>
          <a:bodyPr/>
          <a:lstStyle/>
          <a:p>
            <a:r>
              <a:rPr lang="en-US" dirty="0"/>
              <a:t>Contents</a:t>
            </a:r>
          </a:p>
        </p:txBody>
      </p:sp>
      <p:sp>
        <p:nvSpPr>
          <p:cNvPr id="7" name="Text Placeholder 2"/>
          <p:cNvSpPr>
            <a:spLocks noGrp="1"/>
          </p:cNvSpPr>
          <p:nvPr>
            <p:custDataLst>
              <p:tags r:id="rId4"/>
            </p:custDataLst>
          </p:nvPr>
        </p:nvSpPr>
        <p:spPr bwMode="black">
          <a:xfrm>
            <a:off x="125404" y="19383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Background</a:t>
            </a:r>
          </a:p>
        </p:txBody>
      </p:sp>
      <p:sp>
        <p:nvSpPr>
          <p:cNvPr id="16" name="Text Placeholder 2"/>
          <p:cNvSpPr>
            <a:spLocks noGrp="1"/>
          </p:cNvSpPr>
          <p:nvPr>
            <p:custDataLst>
              <p:tags r:id="rId5"/>
            </p:custDataLst>
          </p:nvPr>
        </p:nvSpPr>
        <p:spPr bwMode="black">
          <a:xfrm>
            <a:off x="125410" y="2649538"/>
            <a:ext cx="2198688"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set</a:t>
            </a:r>
          </a:p>
        </p:txBody>
      </p:sp>
      <p:sp>
        <p:nvSpPr>
          <p:cNvPr id="12" name="Text Placeholder 2"/>
          <p:cNvSpPr>
            <a:spLocks noGrp="1"/>
          </p:cNvSpPr>
          <p:nvPr>
            <p:custDataLst>
              <p:tags r:id="rId6"/>
            </p:custDataLst>
          </p:nvPr>
        </p:nvSpPr>
        <p:spPr bwMode="black">
          <a:xfrm>
            <a:off x="125413" y="33607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sz="2800" dirty="0">
                <a:solidFill>
                  <a:schemeClr val="bg1"/>
                </a:solidFill>
                <a:sym typeface="+mn-lt"/>
              </a:rPr>
              <a:t>Data model</a:t>
            </a:r>
          </a:p>
        </p:txBody>
      </p:sp>
      <p:sp>
        <p:nvSpPr>
          <p:cNvPr id="13" name="Text Placeholder 2"/>
          <p:cNvSpPr>
            <a:spLocks noGrp="1"/>
          </p:cNvSpPr>
          <p:nvPr>
            <p:custDataLst>
              <p:tags r:id="rId7"/>
            </p:custDataLst>
          </p:nvPr>
        </p:nvSpPr>
        <p:spPr bwMode="black">
          <a:xfrm>
            <a:off x="125413" y="4071938"/>
            <a:ext cx="2198688"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Conclusion</a:t>
            </a:r>
          </a:p>
        </p:txBody>
      </p:sp>
    </p:spTree>
    <p:extLst>
      <p:ext uri="{BB962C8B-B14F-4D97-AF65-F5344CB8AC3E}">
        <p14:creationId xmlns:p14="http://schemas.microsoft.com/office/powerpoint/2010/main" val="258258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 data set – cellartracker.com</a:t>
            </a:r>
          </a:p>
        </p:txBody>
      </p:sp>
      <p:sp>
        <p:nvSpPr>
          <p:cNvPr id="4" name="TextBox 3"/>
          <p:cNvSpPr txBox="1"/>
          <p:nvPr/>
        </p:nvSpPr>
        <p:spPr>
          <a:xfrm>
            <a:off x="119063" y="733526"/>
            <a:ext cx="6011573" cy="193899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Cellar Tracker is an online cellar management tool.  Users input their wine collection and they keep track of when they purchased the wines, they write reviews (tasting  notes) when they consume them and they also include their point ratings (again, they use the 100-point scale</a:t>
            </a:r>
            <a:r>
              <a:rPr lang="en-US" baseline="30000" dirty="0"/>
              <a:t>1</a:t>
            </a:r>
            <a:r>
              <a:rPr lang="en-US" dirty="0"/>
              <a:t>)</a:t>
            </a:r>
          </a:p>
          <a:p>
            <a:endParaRPr lang="en-US" dirty="0"/>
          </a:p>
          <a:p>
            <a:r>
              <a:rPr lang="en-US" dirty="0"/>
              <a:t>The dataset I worked with contains just above 2 million entries. It is a text file in the following format, 10 lines per entry </a:t>
            </a:r>
            <a:r>
              <a:rPr lang="en-US" dirty="0">
                <a:sym typeface="Wingdings" panose="05000000000000000000" pitchFamily="2" charset="2"/>
              </a:rPr>
              <a:t> more than 20 million lines of text</a:t>
            </a:r>
            <a:endParaRPr lang="en-US" dirty="0"/>
          </a:p>
          <a:p>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3046" y="537965"/>
            <a:ext cx="2134553" cy="2134553"/>
          </a:xfrm>
          <a:prstGeom prst="rect">
            <a:avLst/>
          </a:prstGeom>
        </p:spPr>
      </p:pic>
      <p:sp>
        <p:nvSpPr>
          <p:cNvPr id="6"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baseline="0">
                <a:solidFill>
                  <a:schemeClr val="accent6"/>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ven though the scale is from 0 to 100, most wines receive points between 80 and 100. A wine with a score below 80 is, usually, a bad wine – not “cellar worthy”</a:t>
            </a:r>
          </a:p>
        </p:txBody>
      </p:sp>
      <p:sp>
        <p:nvSpPr>
          <p:cNvPr id="7" name="TextBox 6"/>
          <p:cNvSpPr txBox="1"/>
          <p:nvPr/>
        </p:nvSpPr>
        <p:spPr>
          <a:xfrm>
            <a:off x="195264" y="2335843"/>
            <a:ext cx="8439581" cy="276998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latin typeface="Courier New" panose="02070309020205020404" pitchFamily="49" charset="0"/>
                <a:cs typeface="Courier New" panose="02070309020205020404" pitchFamily="49" charset="0"/>
              </a:rPr>
              <a:t>1 wine/name: 1981 Ch&amp;#226;teau de Beaucastel Ch&amp;#226;teauneuf-du-Pape</a:t>
            </a:r>
          </a:p>
          <a:p>
            <a:r>
              <a:rPr lang="en-US" sz="1200" dirty="0">
                <a:latin typeface="Courier New" panose="02070309020205020404" pitchFamily="49" charset="0"/>
                <a:cs typeface="Courier New" panose="02070309020205020404" pitchFamily="49" charset="0"/>
              </a:rPr>
              <a:t>2 wine/wineId: 18856</a:t>
            </a:r>
          </a:p>
          <a:p>
            <a:r>
              <a:rPr lang="en-US" sz="1200" dirty="0">
                <a:latin typeface="Courier New" panose="02070309020205020404" pitchFamily="49" charset="0"/>
                <a:cs typeface="Courier New" panose="02070309020205020404" pitchFamily="49" charset="0"/>
              </a:rPr>
              <a:t>3 wine/variant: Red Rhone Blend</a:t>
            </a:r>
          </a:p>
          <a:p>
            <a:r>
              <a:rPr lang="en-US" sz="1200" dirty="0">
                <a:latin typeface="Courier New" panose="02070309020205020404" pitchFamily="49" charset="0"/>
                <a:cs typeface="Courier New" panose="02070309020205020404" pitchFamily="49" charset="0"/>
              </a:rPr>
              <a:t>4 wine/year: 1981</a:t>
            </a:r>
          </a:p>
          <a:p>
            <a:r>
              <a:rPr lang="en-US" sz="1200" dirty="0">
                <a:latin typeface="Courier New" panose="02070309020205020404" pitchFamily="49" charset="0"/>
                <a:cs typeface="Courier New" panose="02070309020205020404" pitchFamily="49" charset="0"/>
              </a:rPr>
              <a:t>5 review/points: 96</a:t>
            </a:r>
          </a:p>
          <a:p>
            <a:r>
              <a:rPr lang="en-US" sz="1200" dirty="0">
                <a:latin typeface="Courier New" panose="02070309020205020404" pitchFamily="49" charset="0"/>
                <a:cs typeface="Courier New" panose="02070309020205020404" pitchFamily="49" charset="0"/>
              </a:rPr>
              <a:t>6 review/time: 1160179200</a:t>
            </a:r>
          </a:p>
          <a:p>
            <a:r>
              <a:rPr lang="en-US" sz="1200" dirty="0">
                <a:latin typeface="Courier New" panose="02070309020205020404" pitchFamily="49" charset="0"/>
                <a:cs typeface="Courier New" panose="02070309020205020404" pitchFamily="49" charset="0"/>
              </a:rPr>
              <a:t>7 review/userId: 1</a:t>
            </a:r>
          </a:p>
          <a:p>
            <a:r>
              <a:rPr lang="en-US" sz="1200" dirty="0">
                <a:latin typeface="Courier New" panose="02070309020205020404" pitchFamily="49" charset="0"/>
                <a:cs typeface="Courier New" panose="02070309020205020404" pitchFamily="49" charset="0"/>
              </a:rPr>
              <a:t>8 review/userName: Eric</a:t>
            </a:r>
          </a:p>
          <a:p>
            <a:r>
              <a:rPr lang="en-US" sz="1200" dirty="0">
                <a:latin typeface="Courier New" panose="02070309020205020404" pitchFamily="49" charset="0"/>
                <a:cs typeface="Courier New" panose="02070309020205020404" pitchFamily="49" charset="0"/>
              </a:rPr>
              <a:t>9 review/text: Olive, horse sweat, dirty saddle, and smoke. This actually got quite a bit more spicy and expressive with significant aeration. This was a little dry on the palate first but filled out considerably in time, lovely, loaded with tapenade, leather, dry and powerful, very black olive, meaty. This improved considerably the longer it was open. A terrific bottle of 1981, 96+ and improving. This may well be my favorite vintage of Beau except for perhaps the 1990.</a:t>
            </a:r>
          </a:p>
          <a:p>
            <a:r>
              <a:rPr lang="en-US" sz="1200" dirty="0">
                <a:latin typeface="Courier New" panose="02070309020205020404" pitchFamily="49" charset="0"/>
                <a:cs typeface="Courier New" panose="02070309020205020404" pitchFamily="49" charset="0"/>
              </a:rPr>
              <a:t>10</a:t>
            </a:r>
          </a:p>
        </p:txBody>
      </p:sp>
    </p:spTree>
    <p:extLst>
      <p:ext uri="{BB962C8B-B14F-4D97-AF65-F5344CB8AC3E}">
        <p14:creationId xmlns:p14="http://schemas.microsoft.com/office/powerpoint/2010/main" val="526643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leanup – Challenge #1</a:t>
            </a:r>
          </a:p>
        </p:txBody>
      </p:sp>
      <p:sp>
        <p:nvSpPr>
          <p:cNvPr id="5" name="TextBox 4"/>
          <p:cNvSpPr txBox="1"/>
          <p:nvPr/>
        </p:nvSpPr>
        <p:spPr>
          <a:xfrm>
            <a:off x="119063" y="752772"/>
            <a:ext cx="8439581" cy="276998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latin typeface="Courier New" panose="02070309020205020404" pitchFamily="49" charset="0"/>
                <a:cs typeface="Courier New" panose="02070309020205020404" pitchFamily="49" charset="0"/>
              </a:rPr>
              <a:t>1 wine/name: 1981 Ch&amp;#226;teau de Beaucastel Ch&amp;#226;teauneuf-du-Pape</a:t>
            </a:r>
          </a:p>
          <a:p>
            <a:r>
              <a:rPr lang="en-US" sz="1200" dirty="0">
                <a:latin typeface="Courier New" panose="02070309020205020404" pitchFamily="49" charset="0"/>
                <a:cs typeface="Courier New" panose="02070309020205020404" pitchFamily="49" charset="0"/>
              </a:rPr>
              <a:t>2 wine/wineId: 18856</a:t>
            </a:r>
          </a:p>
          <a:p>
            <a:r>
              <a:rPr lang="en-US" sz="1200" dirty="0">
                <a:latin typeface="Courier New" panose="02070309020205020404" pitchFamily="49" charset="0"/>
                <a:cs typeface="Courier New" panose="02070309020205020404" pitchFamily="49" charset="0"/>
              </a:rPr>
              <a:t>3 wine/variant: Red Rhone Blend</a:t>
            </a:r>
          </a:p>
          <a:p>
            <a:r>
              <a:rPr lang="en-US" sz="1200" dirty="0">
                <a:latin typeface="Courier New" panose="02070309020205020404" pitchFamily="49" charset="0"/>
                <a:cs typeface="Courier New" panose="02070309020205020404" pitchFamily="49" charset="0"/>
              </a:rPr>
              <a:t>4 wine/year: 1981</a:t>
            </a:r>
          </a:p>
          <a:p>
            <a:r>
              <a:rPr lang="en-US" sz="1200" dirty="0">
                <a:latin typeface="Courier New" panose="02070309020205020404" pitchFamily="49" charset="0"/>
                <a:cs typeface="Courier New" panose="02070309020205020404" pitchFamily="49" charset="0"/>
              </a:rPr>
              <a:t>5 review/points: 96</a:t>
            </a:r>
          </a:p>
          <a:p>
            <a:r>
              <a:rPr lang="en-US" sz="1200" dirty="0">
                <a:latin typeface="Courier New" panose="02070309020205020404" pitchFamily="49" charset="0"/>
                <a:cs typeface="Courier New" panose="02070309020205020404" pitchFamily="49" charset="0"/>
              </a:rPr>
              <a:t>6 review/time: 1160179200</a:t>
            </a:r>
          </a:p>
          <a:p>
            <a:r>
              <a:rPr lang="en-US" sz="1200" dirty="0">
                <a:latin typeface="Courier New" panose="02070309020205020404" pitchFamily="49" charset="0"/>
                <a:cs typeface="Courier New" panose="02070309020205020404" pitchFamily="49" charset="0"/>
              </a:rPr>
              <a:t>7 review/userId: 1</a:t>
            </a:r>
          </a:p>
          <a:p>
            <a:r>
              <a:rPr lang="en-US" sz="1200" dirty="0">
                <a:latin typeface="Courier New" panose="02070309020205020404" pitchFamily="49" charset="0"/>
                <a:cs typeface="Courier New" panose="02070309020205020404" pitchFamily="49" charset="0"/>
              </a:rPr>
              <a:t>8 review/userName: Eric</a:t>
            </a:r>
          </a:p>
          <a:p>
            <a:r>
              <a:rPr lang="en-US" sz="1200" dirty="0">
                <a:latin typeface="Courier New" panose="02070309020205020404" pitchFamily="49" charset="0"/>
                <a:cs typeface="Courier New" panose="02070309020205020404" pitchFamily="49" charset="0"/>
              </a:rPr>
              <a:t>9 review/text: Olive, horse sweat, dirty saddle, and smoke. This actually got quite a bit more spicy and expressive with significant aeration. This was a little dry on the palate first but filled out considerably in time, lovely, loaded with tapenade, leather, dry and powerful, very black olive, meaty. This improved considerably the longer it was open. A terrific bottle of 1981, 96+ and improving. This may well be my favorite vintage of Beau except for perhaps the 1990.</a:t>
            </a:r>
          </a:p>
          <a:p>
            <a:r>
              <a:rPr lang="en-US" sz="1200" dirty="0">
                <a:latin typeface="Courier New" panose="02070309020205020404" pitchFamily="49" charset="0"/>
                <a:cs typeface="Courier New" panose="02070309020205020404" pitchFamily="49" charset="0"/>
              </a:rPr>
              <a:t>10</a:t>
            </a:r>
          </a:p>
        </p:txBody>
      </p:sp>
      <p:sp>
        <p:nvSpPr>
          <p:cNvPr id="6" name="Oval 5"/>
          <p:cNvSpPr/>
          <p:nvPr/>
        </p:nvSpPr>
        <p:spPr>
          <a:xfrm>
            <a:off x="1683326" y="618836"/>
            <a:ext cx="1339273" cy="436418"/>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nvGrpSpPr>
          <p:cNvPr id="15" name="Group 14"/>
          <p:cNvGrpSpPr/>
          <p:nvPr/>
        </p:nvGrpSpPr>
        <p:grpSpPr>
          <a:xfrm>
            <a:off x="232958" y="3575958"/>
            <a:ext cx="1333256" cy="2929905"/>
            <a:chOff x="232958" y="3575958"/>
            <a:chExt cx="1333256" cy="2929905"/>
          </a:xfrm>
        </p:grpSpPr>
        <p:sp>
          <p:nvSpPr>
            <p:cNvPr id="9" name="TextBox 8"/>
            <p:cNvSpPr txBox="1"/>
            <p:nvPr/>
          </p:nvSpPr>
          <p:spPr>
            <a:xfrm>
              <a:off x="1061822" y="3674319"/>
              <a:ext cx="504392" cy="28315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1450" indent="-171450">
                <a:lnSpc>
                  <a:spcPts val="1600"/>
                </a:lnSpc>
                <a:buFont typeface="Wingdings" panose="05000000000000000000" pitchFamily="2" charset="2"/>
                <a:buChar char="à"/>
              </a:pPr>
              <a:r>
                <a:rPr lang="en-US" dirty="0">
                  <a:sym typeface="Wingdings" panose="05000000000000000000" pitchFamily="2" charset="2"/>
                </a:rPr>
                <a:t>A/a</a:t>
              </a:r>
            </a:p>
            <a:p>
              <a:pPr marL="171450" indent="-171450">
                <a:lnSpc>
                  <a:spcPts val="1600"/>
                </a:lnSpc>
                <a:buFont typeface="Wingdings" panose="05000000000000000000" pitchFamily="2" charset="2"/>
                <a:buChar char="à"/>
              </a:pPr>
              <a:endParaRPr lang="en-US" dirty="0">
                <a:sym typeface="Wingdings" panose="05000000000000000000" pitchFamily="2" charset="2"/>
              </a:endParaRPr>
            </a:p>
            <a:p>
              <a:pPr marL="171450" indent="-171450">
                <a:lnSpc>
                  <a:spcPts val="1600"/>
                </a:lnSpc>
                <a:buFont typeface="Wingdings" panose="05000000000000000000" pitchFamily="2" charset="2"/>
                <a:buChar char="à"/>
              </a:pPr>
              <a:r>
                <a:rPr lang="en-US" dirty="0">
                  <a:sym typeface="Wingdings" panose="05000000000000000000" pitchFamily="2" charset="2"/>
                </a:rPr>
                <a:t>A/a</a:t>
              </a:r>
            </a:p>
            <a:p>
              <a:pPr marL="171450" indent="-171450">
                <a:lnSpc>
                  <a:spcPts val="1600"/>
                </a:lnSpc>
                <a:buFont typeface="Wingdings" panose="05000000000000000000" pitchFamily="2" charset="2"/>
                <a:buChar char="à"/>
              </a:pPr>
              <a:endParaRPr lang="en-US" dirty="0">
                <a:sym typeface="Wingdings" panose="05000000000000000000" pitchFamily="2" charset="2"/>
              </a:endParaRPr>
            </a:p>
            <a:p>
              <a:pPr marL="171450" indent="-171450">
                <a:lnSpc>
                  <a:spcPts val="1600"/>
                </a:lnSpc>
                <a:buFont typeface="Wingdings" panose="05000000000000000000" pitchFamily="2" charset="2"/>
                <a:buChar char="à"/>
              </a:pPr>
              <a:r>
                <a:rPr lang="en-US" dirty="0">
                  <a:sym typeface="Wingdings" panose="05000000000000000000" pitchFamily="2" charset="2"/>
                </a:rPr>
                <a:t>B/b</a:t>
              </a:r>
            </a:p>
            <a:p>
              <a:pPr marL="171450" indent="-171450">
                <a:lnSpc>
                  <a:spcPts val="1600"/>
                </a:lnSpc>
                <a:buFont typeface="Wingdings" panose="05000000000000000000" pitchFamily="2" charset="2"/>
                <a:buChar char="à"/>
              </a:pPr>
              <a:endParaRPr lang="en-US" dirty="0">
                <a:sym typeface="Wingdings" panose="05000000000000000000" pitchFamily="2" charset="2"/>
              </a:endParaRPr>
            </a:p>
            <a:p>
              <a:pPr marL="171450" indent="-171450">
                <a:lnSpc>
                  <a:spcPts val="1600"/>
                </a:lnSpc>
                <a:buFont typeface="Wingdings" panose="05000000000000000000" pitchFamily="2" charset="2"/>
                <a:buChar char="à"/>
              </a:pPr>
              <a:r>
                <a:rPr lang="en-US" dirty="0">
                  <a:sym typeface="Wingdings" panose="05000000000000000000" pitchFamily="2" charset="2"/>
                </a:rPr>
                <a:t>B/b</a:t>
              </a:r>
            </a:p>
            <a:p>
              <a:pPr marL="171450" indent="-171450">
                <a:lnSpc>
                  <a:spcPts val="1600"/>
                </a:lnSpc>
                <a:buFont typeface="Wingdings" panose="05000000000000000000" pitchFamily="2" charset="2"/>
                <a:buChar char="à"/>
              </a:pPr>
              <a:endParaRPr lang="en-US" dirty="0">
                <a:sym typeface="Wingdings" panose="05000000000000000000" pitchFamily="2" charset="2"/>
              </a:endParaRPr>
            </a:p>
            <a:p>
              <a:pPr marL="171450" indent="-171450">
                <a:lnSpc>
                  <a:spcPts val="1600"/>
                </a:lnSpc>
                <a:buFont typeface="Wingdings" panose="05000000000000000000" pitchFamily="2" charset="2"/>
                <a:buChar char="à"/>
              </a:pPr>
              <a:r>
                <a:rPr lang="en-US" dirty="0">
                  <a:sym typeface="Wingdings" panose="05000000000000000000" pitchFamily="2" charset="2"/>
                </a:rPr>
                <a:t>C/c</a:t>
              </a:r>
            </a:p>
            <a:p>
              <a:endParaRPr lang="en-US" dirty="0">
                <a:sym typeface="Wingdings" panose="05000000000000000000" pitchFamily="2" charset="2"/>
              </a:endParaRPr>
            </a:p>
            <a:p>
              <a:r>
                <a:rPr lang="en-US" dirty="0">
                  <a:sym typeface="Wingdings" panose="05000000000000000000" pitchFamily="2" charset="2"/>
                </a:rPr>
                <a:t> etc</a:t>
              </a:r>
              <a:r>
                <a:rPr lang="en-US" sz="1200" dirty="0">
                  <a:sym typeface="Wingdings" panose="05000000000000000000" pitchFamily="2" charset="2"/>
                </a:rPr>
                <a:t>.</a:t>
              </a:r>
            </a:p>
            <a:p>
              <a:endParaRPr lang="en-US" sz="1200" dirty="0">
                <a:sym typeface="Wingdings" panose="05000000000000000000" pitchFamily="2" charset="2"/>
              </a:endParaRPr>
            </a:p>
            <a:p>
              <a:r>
                <a:rPr lang="en-US" sz="1200" dirty="0">
                  <a:sym typeface="Wingdings" panose="05000000000000000000" pitchFamily="2" charset="2"/>
                </a:rPr>
                <a:t> </a:t>
              </a:r>
            </a:p>
            <a:p>
              <a:endParaRPr lang="en-US" sz="1200" dirty="0"/>
            </a:p>
          </p:txBody>
        </p:sp>
        <p:pic>
          <p:nvPicPr>
            <p:cNvPr id="12" name="Picture 11"/>
            <p:cNvPicPr>
              <a:picLocks noChangeAspect="1"/>
            </p:cNvPicPr>
            <p:nvPr/>
          </p:nvPicPr>
          <p:blipFill>
            <a:blip r:embed="rId3"/>
            <a:stretch>
              <a:fillRect/>
            </a:stretch>
          </p:blipFill>
          <p:spPr>
            <a:xfrm>
              <a:off x="232958" y="3575958"/>
              <a:ext cx="619211" cy="1971950"/>
            </a:xfrm>
            <a:prstGeom prst="rect">
              <a:avLst/>
            </a:prstGeom>
          </p:spPr>
        </p:pic>
      </p:grpSp>
      <p:sp>
        <p:nvSpPr>
          <p:cNvPr id="14" name="TextBox 13"/>
          <p:cNvSpPr txBox="1"/>
          <p:nvPr/>
        </p:nvSpPr>
        <p:spPr>
          <a:xfrm>
            <a:off x="2187790" y="4497456"/>
            <a:ext cx="5605392"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Global search and replace on a text file of 20 million lines</a:t>
            </a:r>
          </a:p>
          <a:p>
            <a:r>
              <a:rPr lang="en-US" b="1" dirty="0">
                <a:sym typeface="Wingdings" panose="05000000000000000000" pitchFamily="2" charset="2"/>
              </a:rPr>
              <a:t> 10 minutes, each letter</a:t>
            </a:r>
            <a:endParaRPr lang="en-US" b="1" dirty="0"/>
          </a:p>
        </p:txBody>
      </p:sp>
    </p:spTree>
    <p:extLst>
      <p:ext uri="{BB962C8B-B14F-4D97-AF65-F5344CB8AC3E}">
        <p14:creationId xmlns:p14="http://schemas.microsoft.com/office/powerpoint/2010/main" val="3147784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503149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cleanup – Challenge #2</a:t>
            </a:r>
          </a:p>
        </p:txBody>
      </p:sp>
      <p:pic>
        <p:nvPicPr>
          <p:cNvPr id="3" name="Picture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9062" y="1528767"/>
            <a:ext cx="8618537" cy="3007758"/>
          </a:xfrm>
          <a:prstGeom prst="rect">
            <a:avLst/>
          </a:prstGeom>
          <a:effectLst>
            <a:outerShdw blurRad="50800" dist="38100" dir="2700000" algn="tl" rotWithShape="0">
              <a:prstClr val="black">
                <a:alpha val="40000"/>
              </a:prstClr>
            </a:outerShdw>
          </a:effectLst>
        </p:spPr>
      </p:pic>
      <p:grpSp>
        <p:nvGrpSpPr>
          <p:cNvPr id="14" name="Group 13"/>
          <p:cNvGrpSpPr/>
          <p:nvPr/>
        </p:nvGrpSpPr>
        <p:grpSpPr>
          <a:xfrm>
            <a:off x="254145" y="4881015"/>
            <a:ext cx="8301923" cy="1413624"/>
            <a:chOff x="119062" y="4964143"/>
            <a:chExt cx="8301923" cy="1413624"/>
          </a:xfrm>
        </p:grpSpPr>
        <p:pic>
          <p:nvPicPr>
            <p:cNvPr id="10" name="Picture 9"/>
            <p:cNvPicPr>
              <a:picLocks noChangeAspect="1"/>
            </p:cNvPicPr>
            <p:nvPr/>
          </p:nvPicPr>
          <p:blipFill>
            <a:blip r:embed="rId8"/>
            <a:stretch>
              <a:fillRect/>
            </a:stretch>
          </p:blipFill>
          <p:spPr>
            <a:xfrm>
              <a:off x="119062" y="4964143"/>
              <a:ext cx="4934639" cy="1390844"/>
            </a:xfrm>
            <a:prstGeom prst="rect">
              <a:avLst/>
            </a:prstGeom>
          </p:spPr>
        </p:pic>
        <p:sp>
          <p:nvSpPr>
            <p:cNvPr id="13" name="TextBox 12"/>
            <p:cNvSpPr txBox="1"/>
            <p:nvPr/>
          </p:nvSpPr>
          <p:spPr>
            <a:xfrm>
              <a:off x="5275695" y="5392882"/>
              <a:ext cx="3145290" cy="9848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t>When I tried to read in 20 million lines (i.e. 2 million pandas rows) all the data, my PC did not cooperate </a:t>
              </a:r>
              <a:r>
                <a:rPr lang="en-US" sz="1600" dirty="0">
                  <a:sym typeface="Wingdings" panose="05000000000000000000" pitchFamily="2" charset="2"/>
                </a:rPr>
                <a:t></a:t>
              </a:r>
              <a:endParaRPr lang="en-US" sz="1600" dirty="0"/>
            </a:p>
          </p:txBody>
        </p:sp>
        <p:cxnSp>
          <p:nvCxnSpPr>
            <p:cNvPr id="7" name="Straight Arrow Connector 6"/>
            <p:cNvCxnSpPr/>
            <p:nvPr/>
          </p:nvCxnSpPr>
          <p:spPr>
            <a:xfrm flipH="1" flipV="1">
              <a:off x="2143830" y="5167122"/>
              <a:ext cx="3020868" cy="451519"/>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126205" y="832635"/>
            <a:ext cx="8611394"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t>So, I wrote a loop that reads 10 lines at a time and then adds the data to a pandas dataframe.</a:t>
            </a:r>
          </a:p>
          <a:p>
            <a:r>
              <a:rPr lang="en-US" sz="1600" dirty="0"/>
              <a:t>It worked fine for the first few rows…</a:t>
            </a:r>
          </a:p>
        </p:txBody>
      </p:sp>
    </p:spTree>
    <p:extLst>
      <p:ext uri="{BB962C8B-B14F-4D97-AF65-F5344CB8AC3E}">
        <p14:creationId xmlns:p14="http://schemas.microsoft.com/office/powerpoint/2010/main" val="837849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64" name="think-cell Slide" r:id="rId8" imgW="493" imgH="493" progId="TCLayout.ActiveDocument.1">
                  <p:embed/>
                </p:oleObj>
              </mc:Choice>
              <mc:Fallback>
                <p:oleObj name="think-cell Slide" r:id="rId8" imgW="493" imgH="493" progId="TCLayout.ActiveDocument.1">
                  <p:embed/>
                  <p:pic>
                    <p:nvPicPr>
                      <p:cNvPr id="12" name="Object 1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cleanup – Challenge #2 (cont’d)</a:t>
            </a:r>
          </a:p>
        </p:txBody>
      </p:sp>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14959" y="784483"/>
            <a:ext cx="2167731" cy="3778045"/>
          </a:xfrm>
          <a:prstGeom prst="rect">
            <a:avLst/>
          </a:prstGeom>
        </p:spPr>
      </p:pic>
      <p:pic>
        <p:nvPicPr>
          <p:cNvPr id="6" name="Picture 5"/>
          <p:cNvPicPr>
            <a:picLocks noChangeAspect="1"/>
          </p:cNvPicPr>
          <p:nvPr/>
        </p:nvPicPr>
        <p:blipFill>
          <a:blip r:embed="rId11"/>
          <a:stretch>
            <a:fillRect/>
          </a:stretch>
        </p:blipFill>
        <p:spPr>
          <a:xfrm>
            <a:off x="119063" y="784484"/>
            <a:ext cx="2447280" cy="3480001"/>
          </a:xfrm>
          <a:prstGeom prst="rect">
            <a:avLst/>
          </a:prstGeom>
        </p:spPr>
      </p:pic>
      <p:sp>
        <p:nvSpPr>
          <p:cNvPr id="8" name="TextBox 7"/>
          <p:cNvSpPr txBox="1"/>
          <p:nvPr/>
        </p:nvSpPr>
        <p:spPr>
          <a:xfrm>
            <a:off x="2833365" y="1016198"/>
            <a:ext cx="1714712" cy="215443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1. Split the original data file to 1012 txt files</a:t>
            </a:r>
          </a:p>
          <a:p>
            <a:pPr marL="342900" indent="-342900">
              <a:buAutoNum type="arabicPeriod"/>
            </a:pPr>
            <a:endParaRPr lang="en-US" dirty="0"/>
          </a:p>
          <a:p>
            <a:pPr marL="342900" indent="-342900">
              <a:buAutoNum type="arabicPeriod"/>
            </a:pPr>
            <a:endParaRPr lang="en-US" dirty="0"/>
          </a:p>
          <a:p>
            <a:endParaRPr lang="en-US" dirty="0"/>
          </a:p>
          <a:p>
            <a:r>
              <a:rPr lang="en-US" dirty="0"/>
              <a:t>2. Read each txt file, create a dataframe and save to csv</a:t>
            </a:r>
          </a:p>
          <a:p>
            <a:endParaRPr lang="en-US" dirty="0"/>
          </a:p>
        </p:txBody>
      </p:sp>
      <p:sp>
        <p:nvSpPr>
          <p:cNvPr id="11" name="TextBox 10"/>
          <p:cNvSpPr txBox="1"/>
          <p:nvPr/>
        </p:nvSpPr>
        <p:spPr>
          <a:xfrm>
            <a:off x="6329577" y="1016198"/>
            <a:ext cx="2079482" cy="86177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3. Write loop that reads the CSV files and appends each to the “big” dataframe</a:t>
            </a:r>
          </a:p>
        </p:txBody>
      </p:sp>
      <p:sp>
        <p:nvSpPr>
          <p:cNvPr id="15" name="TextBox 14"/>
          <p:cNvSpPr txBox="1"/>
          <p:nvPr/>
        </p:nvSpPr>
        <p:spPr>
          <a:xfrm>
            <a:off x="299349" y="4809046"/>
            <a:ext cx="5599475" cy="107721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4. Result:</a:t>
            </a:r>
          </a:p>
          <a:p>
            <a:pPr marL="285750" indent="-285750">
              <a:buFontTx/>
              <a:buChar char="-"/>
            </a:pPr>
            <a:r>
              <a:rPr lang="en-US" b="1" dirty="0">
                <a:solidFill>
                  <a:srgbClr val="92D050"/>
                </a:solidFill>
              </a:rPr>
              <a:t>Success</a:t>
            </a:r>
            <a:r>
              <a:rPr lang="en-US" dirty="0"/>
              <a:t> - Loaded a dataframe of 2,024,995 rows, 10 columns</a:t>
            </a:r>
          </a:p>
          <a:p>
            <a:pPr marL="285750" indent="-285750">
              <a:buFontTx/>
              <a:buChar char="-"/>
            </a:pPr>
            <a:endParaRPr lang="en-US" dirty="0"/>
          </a:p>
          <a:p>
            <a:pPr marL="285750" indent="-285750">
              <a:buFontTx/>
              <a:buChar char="-"/>
            </a:pPr>
            <a:r>
              <a:rPr lang="en-US" b="1" dirty="0">
                <a:solidFill>
                  <a:schemeClr val="accent5"/>
                </a:solidFill>
              </a:rPr>
              <a:t>Not success</a:t>
            </a:r>
            <a:r>
              <a:rPr lang="en-US" dirty="0">
                <a:solidFill>
                  <a:schemeClr val="accent5"/>
                </a:solidFill>
              </a:rPr>
              <a:t> </a:t>
            </a:r>
            <a:r>
              <a:rPr lang="en-US" dirty="0"/>
              <a:t>- There was not much I could do with it because all my memory was being used</a:t>
            </a:r>
          </a:p>
        </p:txBody>
      </p:sp>
      <p:sp>
        <p:nvSpPr>
          <p:cNvPr id="16" name="TextBox 15"/>
          <p:cNvSpPr txBox="1"/>
          <p:nvPr/>
        </p:nvSpPr>
        <p:spPr>
          <a:xfrm>
            <a:off x="5949930" y="5132211"/>
            <a:ext cx="2838776"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5. Solution: work with random subset of the larger dataset – </a:t>
            </a:r>
            <a:br>
              <a:rPr lang="en-US" dirty="0"/>
            </a:br>
            <a:r>
              <a:rPr lang="en-US" dirty="0"/>
              <a:t>100k-300k rows</a:t>
            </a:r>
          </a:p>
        </p:txBody>
      </p:sp>
      <p:sp>
        <p:nvSpPr>
          <p:cNvPr id="3" name="Arrow 2"/>
          <p:cNvSpPr txBox="1"/>
          <p:nvPr>
            <p:custDataLst>
              <p:tags r:id="rId3"/>
            </p:custDataLst>
          </p:nvPr>
        </p:nvSpPr>
        <p:spPr>
          <a:xfrm>
            <a:off x="2421392" y="786608"/>
            <a:ext cx="300036" cy="914400"/>
          </a:xfrm>
          <a:prstGeom prst="rightArrow">
            <a:avLst>
              <a:gd name="adj1" fmla="val 54000"/>
              <a:gd name="adj2" fmla="val 37678"/>
            </a:avLst>
          </a:prstGeom>
          <a:solidFill>
            <a:schemeClr val="accent2">
              <a:lumMod val="20000"/>
              <a:lumOff val="80000"/>
            </a:schemeClr>
          </a:solidFill>
          <a:ln>
            <a:solidFill>
              <a:schemeClr val="accent6"/>
            </a:solidFill>
          </a:ln>
        </p:spPr>
        <p:txBody>
          <a:bodyPr vert="horz" lIns="76200" tIns="0" rIns="0" bIns="0"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13" name="Arrow 2"/>
          <p:cNvSpPr txBox="1"/>
          <p:nvPr>
            <p:custDataLst>
              <p:tags r:id="rId4"/>
            </p:custDataLst>
          </p:nvPr>
        </p:nvSpPr>
        <p:spPr>
          <a:xfrm>
            <a:off x="4514922" y="2147322"/>
            <a:ext cx="300036" cy="914400"/>
          </a:xfrm>
          <a:prstGeom prst="rightArrow">
            <a:avLst>
              <a:gd name="adj1" fmla="val 54000"/>
              <a:gd name="adj2" fmla="val 37678"/>
            </a:avLst>
          </a:prstGeom>
          <a:solidFill>
            <a:schemeClr val="accent2">
              <a:lumMod val="20000"/>
              <a:lumOff val="80000"/>
            </a:schemeClr>
          </a:solidFill>
          <a:ln>
            <a:solidFill>
              <a:schemeClr val="accent6"/>
            </a:solidFill>
          </a:ln>
        </p:spPr>
        <p:txBody>
          <a:bodyPr vert="horz" lIns="76200" tIns="0" rIns="0" bIns="0"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14" name="Arrow 2"/>
          <p:cNvSpPr txBox="1"/>
          <p:nvPr>
            <p:custDataLst>
              <p:tags r:id="rId5"/>
            </p:custDataLst>
          </p:nvPr>
        </p:nvSpPr>
        <p:spPr>
          <a:xfrm>
            <a:off x="5978586" y="906463"/>
            <a:ext cx="300036" cy="914400"/>
          </a:xfrm>
          <a:prstGeom prst="rightArrow">
            <a:avLst>
              <a:gd name="adj1" fmla="val 54000"/>
              <a:gd name="adj2" fmla="val 37678"/>
            </a:avLst>
          </a:prstGeom>
          <a:solidFill>
            <a:schemeClr val="accent2">
              <a:lumMod val="20000"/>
              <a:lumOff val="80000"/>
            </a:schemeClr>
          </a:solidFill>
          <a:ln>
            <a:solidFill>
              <a:schemeClr val="accent6"/>
            </a:solidFill>
          </a:ln>
        </p:spPr>
        <p:txBody>
          <a:bodyPr vert="horz" lIns="76200" tIns="0" rIns="0" bIns="0"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Tree>
    <p:extLst>
      <p:ext uri="{BB962C8B-B14F-4D97-AF65-F5344CB8AC3E}">
        <p14:creationId xmlns:p14="http://schemas.microsoft.com/office/powerpoint/2010/main" val="2775275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9"/>
  <p:tag name="THINKCELLUNDODONOTDELETE" val="0"/>
  <p:tag name="ISNEWSLIDENUMBER" val="True"/>
  <p:tag name="PREVIOUSNAME" val="C:\Users\Dimitris Triantopoul\Documents\1-DataScience\DAT-NYC-45\final-project\Wine Tasting Notes &amp; Ratings.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BTr9LQ7QkqFx7pV1uIl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SG5zNypSHCpMXDOzV8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YDPrUuQRZiek_VOh2s2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Pq6qK7Rxy7uCaqoWxA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IeELD_qTEmj0FNTeiIl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WekgiiUTE26DulRYafJ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eEb2uY3T.6dKWPVY7jU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ZG5toAZQr6pydAMveyo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Arrow"/>
</p:tagLst>
</file>

<file path=ppt/tags/tag42.xml><?xml version="1.0" encoding="utf-8"?>
<p:tagLst xmlns:a="http://schemas.openxmlformats.org/drawingml/2006/main" xmlns:r="http://schemas.openxmlformats.org/officeDocument/2006/relationships" xmlns:p="http://schemas.openxmlformats.org/presentationml/2006/main">
  <p:tag name="NAME" val="Arrow"/>
</p:tagLst>
</file>

<file path=ppt/tags/tag43.xml><?xml version="1.0" encoding="utf-8"?>
<p:tagLst xmlns:a="http://schemas.openxmlformats.org/drawingml/2006/main" xmlns:r="http://schemas.openxmlformats.org/officeDocument/2006/relationships" xmlns:p="http://schemas.openxmlformats.org/presentationml/2006/main">
  <p:tag name="NAME" val="Arr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IeELD_qTEmj0FNTeiIl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gyhGTUTT6Cb7X8dMn8m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jTe0UI7SNGxPZvJGMLi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fvNTSIQDWL.uezPYMby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2.xml><?xml version="1.0" encoding="utf-8"?>
<p:tagLst xmlns:a="http://schemas.openxmlformats.org/drawingml/2006/main" xmlns:r="http://schemas.openxmlformats.org/officeDocument/2006/relationships" xmlns:p="http://schemas.openxmlformats.org/presentationml/2006/main">
  <p:tag name="RESIZE" val="Yes"/>
  <p:tag name="THINKCELLSHAPEDONOTDELETE" val="pk4UBJQC5vEKYa5fCZfm9Lg"/>
</p:tagLst>
</file>

<file path=ppt/tags/tag53.xml><?xml version="1.0" encoding="utf-8"?>
<p:tagLst xmlns:a="http://schemas.openxmlformats.org/drawingml/2006/main" xmlns:r="http://schemas.openxmlformats.org/officeDocument/2006/relationships" xmlns:p="http://schemas.openxmlformats.org/presentationml/2006/main">
  <p:tag name="NAME" val="Flow"/>
</p:tagLst>
</file>

<file path=ppt/tags/tag54.xml><?xml version="1.0" encoding="utf-8"?>
<p:tagLst xmlns:a="http://schemas.openxmlformats.org/drawingml/2006/main" xmlns:r="http://schemas.openxmlformats.org/officeDocument/2006/relationships" xmlns:p="http://schemas.openxmlformats.org/presentationml/2006/main">
  <p:tag name="NAME" val="Flow"/>
</p:tagLst>
</file>

<file path=ppt/tags/tag55.xml><?xml version="1.0" encoding="utf-8"?>
<p:tagLst xmlns:a="http://schemas.openxmlformats.org/drawingml/2006/main" xmlns:r="http://schemas.openxmlformats.org/officeDocument/2006/relationships" xmlns:p="http://schemas.openxmlformats.org/presentationml/2006/main">
  <p:tag name="NAME" val="Flow"/>
</p:tagLst>
</file>

<file path=ppt/tags/tag56.xml><?xml version="1.0" encoding="utf-8"?>
<p:tagLst xmlns:a="http://schemas.openxmlformats.org/drawingml/2006/main" xmlns:r="http://schemas.openxmlformats.org/officeDocument/2006/relationships" xmlns:p="http://schemas.openxmlformats.org/presentationml/2006/main">
  <p:tag name="NAME" val="Fl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xml><?xml version="1.0" encoding="utf-8"?>
<p:tagLst xmlns:a="http://schemas.openxmlformats.org/drawingml/2006/main" xmlns:r="http://schemas.openxmlformats.org/officeDocument/2006/relationships" xmlns:p="http://schemas.openxmlformats.org/presentationml/2006/main">
  <p:tag name="NAME" val="SingleBoatText"/>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IeELD_qTEmj0FNTeiIl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gyhGTUTT6Cb7X8dMn8m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jTe0UI7SNGxPZvJGMLi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xWbHct.RnWgp4C4Srw47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9B1EEE48-FBB1-4441-A18B-EA0D61F9D5CF}" vid="{46CCEF6C-6F35-4EC3-B141-99BB08E4FC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02</Words>
  <Application>Microsoft Office PowerPoint</Application>
  <PresentationFormat>Custom</PresentationFormat>
  <Paragraphs>167</Paragraphs>
  <Slides>17</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ourier New</vt:lpstr>
      <vt:lpstr>Wingdings</vt:lpstr>
      <vt:lpstr>Firm Format - template</vt:lpstr>
      <vt:lpstr>think-cell Slide</vt:lpstr>
      <vt:lpstr>General Assembly  Data Science-45 Cellar Tracker: From Tasting Notes to Ratings</vt:lpstr>
      <vt:lpstr>Executive summary</vt:lpstr>
      <vt:lpstr>Contents</vt:lpstr>
      <vt:lpstr>Background</vt:lpstr>
      <vt:lpstr>Contents</vt:lpstr>
      <vt:lpstr>My data set – cellartracker.com</vt:lpstr>
      <vt:lpstr>Data Cleanup – Challenge #1</vt:lpstr>
      <vt:lpstr>Data cleanup – Challenge #2</vt:lpstr>
      <vt:lpstr>Data cleanup – Challenge #2 (cont’d)</vt:lpstr>
      <vt:lpstr>An overview of the ratings distribution</vt:lpstr>
      <vt:lpstr>Vintage</vt:lpstr>
      <vt:lpstr>Contents</vt:lpstr>
      <vt:lpstr>Random Forest and Count Vectorizer</vt:lpstr>
      <vt:lpstr>Natural Language Processing (NLP) on the reviews/tasting notes</vt:lpstr>
      <vt:lpstr>Feature &amp; strategy adjustments </vt:lpstr>
      <vt:lpstr>Contents</vt:lpstr>
      <vt:lpstr>Conclus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10-15T15:41:18Z</cp:lastPrinted>
  <dcterms:created xsi:type="dcterms:W3CDTF">2017-02-07T00:23:49Z</dcterms:created>
  <dcterms:modified xsi:type="dcterms:W3CDTF">2017-02-11T01:58:14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D">
    <vt:lpwstr>FIR-AAA123-20170210-</vt:lpwstr>
  </property>
</Properties>
</file>